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59" r:id="rId2"/>
    <p:sldMasterId id="2147483771" r:id="rId3"/>
    <p:sldMasterId id="2147483783" r:id="rId4"/>
    <p:sldMasterId id="2147483795" r:id="rId5"/>
  </p:sldMasterIdLst>
  <p:notesMasterIdLst>
    <p:notesMasterId r:id="rId28"/>
  </p:notesMasterIdLst>
  <p:sldIdLst>
    <p:sldId id="1519" r:id="rId6"/>
    <p:sldId id="303" r:id="rId7"/>
    <p:sldId id="2013" r:id="rId8"/>
    <p:sldId id="2014" r:id="rId9"/>
    <p:sldId id="286" r:id="rId10"/>
    <p:sldId id="287" r:id="rId11"/>
    <p:sldId id="2017" r:id="rId12"/>
    <p:sldId id="2012" r:id="rId13"/>
    <p:sldId id="1981" r:id="rId14"/>
    <p:sldId id="1870" r:id="rId15"/>
    <p:sldId id="1982" r:id="rId16"/>
    <p:sldId id="1871" r:id="rId17"/>
    <p:sldId id="2010" r:id="rId18"/>
    <p:sldId id="300" r:id="rId19"/>
    <p:sldId id="1975" r:id="rId20"/>
    <p:sldId id="1992" r:id="rId21"/>
    <p:sldId id="324" r:id="rId22"/>
    <p:sldId id="325" r:id="rId23"/>
    <p:sldId id="1987" r:id="rId24"/>
    <p:sldId id="1988" r:id="rId25"/>
    <p:sldId id="1989" r:id="rId26"/>
    <p:sldId id="279" r:id="rId2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2E5B173-777F-E433-F504-6E393071C230}" name="Reiner Becker" initials="RB" userId="2cc1d4fcc2e1584f" providerId="Windows Live"/>
  <p188:author id="{F70FA482-7AA9-C6A7-C906-D316F5B9105A}" name="Aycan Yilmaz" initials="AY" userId="S::ayilmaz@coca-cola.com::b6387eb9-845e-4c52-a3eb-ce3d98c8d43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4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58901" autoAdjust="0"/>
  </p:normalViewPr>
  <p:slideViewPr>
    <p:cSldViewPr snapToGrid="0" showGuides="1">
      <p:cViewPr varScale="1">
        <p:scale>
          <a:sx n="44" d="100"/>
          <a:sy n="44" d="100"/>
        </p:scale>
        <p:origin x="1524" y="4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80" d="100"/>
        <a:sy n="1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34" Type="http://schemas.microsoft.com/office/2018/10/relationships/authors" Target="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microsoft.com/office/2016/11/relationships/changesInfo" Target="changesInfos/changesInfo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viewProps" Target="viewProps.xml"/><Relationship Id="rId8" Type="http://schemas.openxmlformats.org/officeDocument/2006/relationships/slide" Target="slides/slide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ohn Martinez" userId="ea08c8b6-0f24-4067-a236-7457322fd4e8" providerId="ADAL" clId="{B45C5E6B-025C-42DF-ACA0-3740F1979B23}"/>
    <pc:docChg chg="modSld">
      <pc:chgData name="John Martinez" userId="ea08c8b6-0f24-4067-a236-7457322fd4e8" providerId="ADAL" clId="{B45C5E6B-025C-42DF-ACA0-3740F1979B23}" dt="2022-12-09T13:59:39.754" v="15" actId="6549"/>
      <pc:docMkLst>
        <pc:docMk/>
      </pc:docMkLst>
      <pc:sldChg chg="modNotesTx">
        <pc:chgData name="John Martinez" userId="ea08c8b6-0f24-4067-a236-7457322fd4e8" providerId="ADAL" clId="{B45C5E6B-025C-42DF-ACA0-3740F1979B23}" dt="2022-12-09T13:58:41.299" v="0" actId="6549"/>
        <pc:sldMkLst>
          <pc:docMk/>
          <pc:sldMk cId="2183561817" sldId="303"/>
        </pc:sldMkLst>
      </pc:sldChg>
      <pc:sldChg chg="modNotesTx">
        <pc:chgData name="John Martinez" userId="ea08c8b6-0f24-4067-a236-7457322fd4e8" providerId="ADAL" clId="{B45C5E6B-025C-42DF-ACA0-3740F1979B23}" dt="2022-12-09T13:59:31.062" v="13" actId="6549"/>
        <pc:sldMkLst>
          <pc:docMk/>
          <pc:sldMk cId="1002598451" sldId="325"/>
        </pc:sldMkLst>
      </pc:sldChg>
      <pc:sldChg chg="modNotesTx">
        <pc:chgData name="John Martinez" userId="ea08c8b6-0f24-4067-a236-7457322fd4e8" providerId="ADAL" clId="{B45C5E6B-025C-42DF-ACA0-3740F1979B23}" dt="2022-12-09T13:59:11.565" v="7" actId="6549"/>
        <pc:sldMkLst>
          <pc:docMk/>
          <pc:sldMk cId="3531702602" sldId="1870"/>
        </pc:sldMkLst>
      </pc:sldChg>
      <pc:sldChg chg="modNotesTx">
        <pc:chgData name="John Martinez" userId="ea08c8b6-0f24-4067-a236-7457322fd4e8" providerId="ADAL" clId="{B45C5E6B-025C-42DF-ACA0-3740F1979B23}" dt="2022-12-09T13:59:18.040" v="9" actId="6549"/>
        <pc:sldMkLst>
          <pc:docMk/>
          <pc:sldMk cId="3252106580" sldId="1871"/>
        </pc:sldMkLst>
      </pc:sldChg>
      <pc:sldChg chg="modNotesTx">
        <pc:chgData name="John Martinez" userId="ea08c8b6-0f24-4067-a236-7457322fd4e8" providerId="ADAL" clId="{B45C5E6B-025C-42DF-ACA0-3740F1979B23}" dt="2022-12-09T13:59:24.859" v="11" actId="6549"/>
        <pc:sldMkLst>
          <pc:docMk/>
          <pc:sldMk cId="3511246509" sldId="1975"/>
        </pc:sldMkLst>
      </pc:sldChg>
      <pc:sldChg chg="modNotesTx">
        <pc:chgData name="John Martinez" userId="ea08c8b6-0f24-4067-a236-7457322fd4e8" providerId="ADAL" clId="{B45C5E6B-025C-42DF-ACA0-3740F1979B23}" dt="2022-12-09T13:59:06.616" v="5" actId="6549"/>
        <pc:sldMkLst>
          <pc:docMk/>
          <pc:sldMk cId="391311550" sldId="1981"/>
        </pc:sldMkLst>
      </pc:sldChg>
      <pc:sldChg chg="modNotesTx">
        <pc:chgData name="John Martinez" userId="ea08c8b6-0f24-4067-a236-7457322fd4e8" providerId="ADAL" clId="{B45C5E6B-025C-42DF-ACA0-3740F1979B23}" dt="2022-12-09T13:59:15.578" v="8" actId="6549"/>
        <pc:sldMkLst>
          <pc:docMk/>
          <pc:sldMk cId="784169551" sldId="1982"/>
        </pc:sldMkLst>
      </pc:sldChg>
      <pc:sldChg chg="modNotesTx">
        <pc:chgData name="John Martinez" userId="ea08c8b6-0f24-4067-a236-7457322fd4e8" providerId="ADAL" clId="{B45C5E6B-025C-42DF-ACA0-3740F1979B23}" dt="2022-12-09T13:59:35.090" v="14" actId="6549"/>
        <pc:sldMkLst>
          <pc:docMk/>
          <pc:sldMk cId="4230764654" sldId="1987"/>
        </pc:sldMkLst>
      </pc:sldChg>
      <pc:sldChg chg="modNotesTx">
        <pc:chgData name="John Martinez" userId="ea08c8b6-0f24-4067-a236-7457322fd4e8" providerId="ADAL" clId="{B45C5E6B-025C-42DF-ACA0-3740F1979B23}" dt="2022-12-09T13:59:39.754" v="15" actId="6549"/>
        <pc:sldMkLst>
          <pc:docMk/>
          <pc:sldMk cId="1086079438" sldId="1989"/>
        </pc:sldMkLst>
      </pc:sldChg>
      <pc:sldChg chg="modNotesTx">
        <pc:chgData name="John Martinez" userId="ea08c8b6-0f24-4067-a236-7457322fd4e8" providerId="ADAL" clId="{B45C5E6B-025C-42DF-ACA0-3740F1979B23}" dt="2022-12-09T13:59:27.114" v="12" actId="6549"/>
        <pc:sldMkLst>
          <pc:docMk/>
          <pc:sldMk cId="2897514449" sldId="1992"/>
        </pc:sldMkLst>
      </pc:sldChg>
      <pc:sldChg chg="modNotesTx">
        <pc:chgData name="John Martinez" userId="ea08c8b6-0f24-4067-a236-7457322fd4e8" providerId="ADAL" clId="{B45C5E6B-025C-42DF-ACA0-3740F1979B23}" dt="2022-12-09T13:59:20.564" v="10" actId="6549"/>
        <pc:sldMkLst>
          <pc:docMk/>
          <pc:sldMk cId="2104296097" sldId="2010"/>
        </pc:sldMkLst>
      </pc:sldChg>
      <pc:sldChg chg="modNotesTx">
        <pc:chgData name="John Martinez" userId="ea08c8b6-0f24-4067-a236-7457322fd4e8" providerId="ADAL" clId="{B45C5E6B-025C-42DF-ACA0-3740F1979B23}" dt="2022-12-09T13:59:01.673" v="4" actId="6549"/>
        <pc:sldMkLst>
          <pc:docMk/>
          <pc:sldMk cId="1431113450" sldId="2012"/>
        </pc:sldMkLst>
      </pc:sldChg>
      <pc:sldChg chg="modNotesTx">
        <pc:chgData name="John Martinez" userId="ea08c8b6-0f24-4067-a236-7457322fd4e8" providerId="ADAL" clId="{B45C5E6B-025C-42DF-ACA0-3740F1979B23}" dt="2022-12-09T13:58:44.353" v="1" actId="6549"/>
        <pc:sldMkLst>
          <pc:docMk/>
          <pc:sldMk cId="417260968" sldId="2013"/>
        </pc:sldMkLst>
      </pc:sldChg>
      <pc:sldChg chg="modNotesTx">
        <pc:chgData name="John Martinez" userId="ea08c8b6-0f24-4067-a236-7457322fd4e8" providerId="ADAL" clId="{B45C5E6B-025C-42DF-ACA0-3740F1979B23}" dt="2022-12-09T13:58:49.824" v="2" actId="6549"/>
        <pc:sldMkLst>
          <pc:docMk/>
          <pc:sldMk cId="1353499658" sldId="2014"/>
        </pc:sldMkLst>
      </pc:sldChg>
      <pc:sldChg chg="modNotesTx">
        <pc:chgData name="John Martinez" userId="ea08c8b6-0f24-4067-a236-7457322fd4e8" providerId="ADAL" clId="{B45C5E6B-025C-42DF-ACA0-3740F1979B23}" dt="2022-12-09T13:58:58.531" v="3" actId="6549"/>
        <pc:sldMkLst>
          <pc:docMk/>
          <pc:sldMk cId="3943041497" sldId="2017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ED463F-7CA7-42D7-BFA0-971E43AB94C6}" type="datetimeFigureOut">
              <a:rPr lang="en-US" smtClean="0"/>
              <a:t>12/9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D9439C-491E-4BCF-8677-F438E1CF0C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42389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D9439C-491E-4BCF-8677-F438E1CF0CC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171737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D9439C-491E-4BCF-8677-F438E1CF0CCA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96457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D9439C-491E-4BCF-8677-F438E1CF0CC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279488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D9439C-491E-4BCF-8677-F438E1CF0CCA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915460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D9439C-491E-4BCF-8677-F438E1CF0CCA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224424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D9439C-491E-4BCF-8677-F438E1CF0CCA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69960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D9439C-491E-4BCF-8677-F438E1CF0CCA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45411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D9439C-491E-4BCF-8677-F438E1CF0CCA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171224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D9439C-491E-4BCF-8677-F438E1CF0CCA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3311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D9439C-491E-4BCF-8677-F438E1CF0CC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43927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D9439C-491E-4BCF-8677-F438E1CF0CC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7807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5" name="Google Shape;2195;g116e198f438_0_406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196" name="Google Shape;2196;g116e198f438_0_406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97" name="Google Shape;2197;g116e198f438_0_406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/>
              <a:t>5</a:t>
            </a:fld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0" name="Google Shape;2210;g11484c8c1b4_1_1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211" name="Google Shape;2211;g11484c8c1b4_1_1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212" name="Google Shape;2212;g11484c8c1b4_1_11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/>
              <a:t>6</a:t>
            </a:fld>
            <a:endParaRPr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D9439C-491E-4BCF-8677-F438E1CF0CC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87745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1D9439C-491E-4BCF-8677-F438E1CF0CC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13842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D9439C-491E-4BCF-8677-F438E1CF0CC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85342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1D9439C-491E-4BCF-8677-F438E1CF0CC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25977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0C38C6-B37B-44C0-9B7D-3309B5AF36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C3CAD52-4CAC-4EED-BAAC-92BF9334369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E7946E-DEDF-4AE5-B87A-80A00AF87C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F86F0-BDEE-4CB5-84A4-B96733856F2D}" type="datetimeFigureOut">
              <a:rPr lang="en-US" smtClean="0"/>
              <a:t>12/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12C8C1-DFCD-47C2-833B-94930FFD59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5FACFA-913B-4E7F-939B-A71D6C65AE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B10AE1-A14C-465E-AFD6-D80BF110E8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54954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F1C2EA-ABB7-4AC8-B4FF-725AC2794D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F81DA0E-7D6A-4DF5-9E87-94FCB178AAC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A14C12-7A84-4DE2-8F2A-69B678CB75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F86F0-BDEE-4CB5-84A4-B96733856F2D}" type="datetimeFigureOut">
              <a:rPr lang="en-US" smtClean="0"/>
              <a:t>12/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46AB57-3C70-4F23-9031-CCED0D8E63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651E42-C616-4825-BC95-C243973021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B10AE1-A14C-465E-AFD6-D80BF110E8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45138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362AC86-CFEC-4F8E-BED9-03150E48501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6CF1846-F395-41E6-B5FC-F9999F57309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1D8021-422F-413E-BB71-611BD9ACAA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F86F0-BDEE-4CB5-84A4-B96733856F2D}" type="datetimeFigureOut">
              <a:rPr lang="en-US" smtClean="0"/>
              <a:t>12/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35FF6F-9D21-48BB-A9DC-9F7AD68FB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721DBA-1FAC-42E5-88D2-ACEC025D9D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B10AE1-A14C-465E-AFD6-D80BF110E8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766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229181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08">
          <p15:clr>
            <a:srgbClr val="CCCCCC"/>
          </p15:clr>
        </p15:guide>
        <p15:guide id="2" pos="7472">
          <p15:clr>
            <a:srgbClr val="CCCCCC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2000" y="-73811"/>
            <a:ext cx="12456000" cy="7005623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_tradnl"/>
              <a:t>Haga clic para modificar el estilo de subtítulo del patrón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9/12/2022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9892454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9/12/2022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D4A0983-4F5C-41C9-83D7-8A2139929D0D}"/>
              </a:ext>
            </a:extLst>
          </p:cNvPr>
          <p:cNvSpPr/>
          <p:nvPr userDrawn="1"/>
        </p:nvSpPr>
        <p:spPr>
          <a:xfrm>
            <a:off x="11964318" y="3855904"/>
            <a:ext cx="227682" cy="107965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01196E6-0563-4E52-B871-19307FE36E1D}"/>
              </a:ext>
            </a:extLst>
          </p:cNvPr>
          <p:cNvSpPr/>
          <p:nvPr userDrawn="1"/>
        </p:nvSpPr>
        <p:spPr>
          <a:xfrm>
            <a:off x="5376231" y="6666390"/>
            <a:ext cx="1476261" cy="17938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226496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2000" y="-73811"/>
            <a:ext cx="12456000" cy="7005623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9/12/2022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85052072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9/12/2022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428884972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9/12/2022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5412537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9/12/2022</a:t>
            </a:fld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70461313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9/12/2022</a:t>
            </a:fld>
            <a:endParaRPr lang="es-ES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E03D806-E833-4ED1-80A4-8D1CD59D5789}"/>
              </a:ext>
            </a:extLst>
          </p:cNvPr>
          <p:cNvSpPr/>
          <p:nvPr userDrawn="1"/>
        </p:nvSpPr>
        <p:spPr>
          <a:xfrm>
            <a:off x="12019402" y="3811836"/>
            <a:ext cx="172598" cy="112372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B7F7E1F-9D08-436B-B881-EB3EABCDF829}"/>
              </a:ext>
            </a:extLst>
          </p:cNvPr>
          <p:cNvSpPr/>
          <p:nvPr userDrawn="1"/>
        </p:nvSpPr>
        <p:spPr>
          <a:xfrm rot="5400000">
            <a:off x="5968062" y="6061706"/>
            <a:ext cx="222823" cy="13697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114665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2FB162-51CC-4225-83BA-924305A02E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58BDF7-630D-4C6C-AFDF-A67C0F0ABEC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C83670-15E2-45C2-A235-BD6961D2CB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F86F0-BDEE-4CB5-84A4-B96733856F2D}" type="datetimeFigureOut">
              <a:rPr lang="en-US" smtClean="0"/>
              <a:t>12/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88F1BC-7BA5-4D7A-A787-344781C5C8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3A1E65-5004-4C3A-9EBD-67D3D786A1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B10AE1-A14C-465E-AFD6-D80BF110E8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95113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9/12/2022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21232899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9/12/2022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68349408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9/12/2022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53981037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9/12/2022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0072821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2000" y="-73811"/>
            <a:ext cx="12456000" cy="7005623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_tradnl"/>
              <a:t>Haga clic para modificar el estilo de subtítulo del patrón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9/12/2022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257421515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9/12/2022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15788019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2000" y="-73811"/>
            <a:ext cx="12456000" cy="7005623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9/12/2022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83173964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9/12/2022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73538816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9/12/2022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31016969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9/12/2022</a:t>
            </a:fld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49238961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A7E2A7-2F01-4E65-A2F0-389131D28C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5CEA41-95BF-437E-B37B-BAB2CE580C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4D541B-E1FB-4C3A-98CE-3AB1EA39CE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F86F0-BDEE-4CB5-84A4-B96733856F2D}" type="datetimeFigureOut">
              <a:rPr lang="en-US" smtClean="0"/>
              <a:t>12/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A73772-BDA1-48AC-8519-E34BD6D71C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E74BFD-4690-49B8-AE61-088AD7E950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B10AE1-A14C-465E-AFD6-D80BF110E8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021058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9/12/2022</a:t>
            </a:fld>
            <a:endParaRPr lang="es-ES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547497451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9/12/2022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034590822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9/12/2022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72909770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9/12/2022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22752809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9/12/2022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808708108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 3">
  <p:cSld name="Agenda 3">
    <p:spTree>
      <p:nvGrpSpPr>
        <p:cNvPr id="1" name="Shape 11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" name="Google Shape;1116;p81"/>
          <p:cNvSpPr txBox="1"/>
          <p:nvPr/>
        </p:nvSpPr>
        <p:spPr>
          <a:xfrm>
            <a:off x="442933" y="428633"/>
            <a:ext cx="11306000" cy="95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1200"/>
              </a:spcAft>
              <a:buNone/>
            </a:pPr>
            <a:endParaRPr sz="2400">
              <a:solidFill>
                <a:srgbClr val="3F3F3F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1117" name="Google Shape;1117;p81"/>
          <p:cNvSpPr txBox="1"/>
          <p:nvPr/>
        </p:nvSpPr>
        <p:spPr>
          <a:xfrm>
            <a:off x="442933" y="1132392"/>
            <a:ext cx="11306000" cy="56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1200"/>
              </a:spcAft>
              <a:buNone/>
            </a:pPr>
            <a:endParaRPr sz="2400" i="1">
              <a:solidFill>
                <a:srgbClr val="A79B9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1118" name="Google Shape;1118;p81"/>
          <p:cNvSpPr txBox="1">
            <a:spLocks noGrp="1"/>
          </p:cNvSpPr>
          <p:nvPr>
            <p:ph type="title"/>
          </p:nvPr>
        </p:nvSpPr>
        <p:spPr>
          <a:xfrm>
            <a:off x="442913" y="432000"/>
            <a:ext cx="11306000" cy="46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Georgia"/>
              <a:buNone/>
              <a:defRPr sz="2667"/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119" name="Google Shape;1119;p81"/>
          <p:cNvSpPr txBox="1">
            <a:spLocks noGrp="1"/>
          </p:cNvSpPr>
          <p:nvPr>
            <p:ph type="sldNum" idx="12"/>
          </p:nvPr>
        </p:nvSpPr>
        <p:spPr>
          <a:xfrm>
            <a:off x="11683133" y="6413733"/>
            <a:ext cx="457600" cy="44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buNone/>
              <a:defRPr sz="1200"/>
            </a:lvl1pPr>
            <a:lvl2pPr lvl="1" rtl="0">
              <a:buNone/>
              <a:defRPr sz="1200"/>
            </a:lvl2pPr>
            <a:lvl3pPr lvl="2" rtl="0">
              <a:buNone/>
              <a:defRPr sz="1200"/>
            </a:lvl3pPr>
            <a:lvl4pPr lvl="3" rtl="0">
              <a:buNone/>
              <a:defRPr sz="1200"/>
            </a:lvl4pPr>
            <a:lvl5pPr lvl="4" rtl="0">
              <a:buNone/>
              <a:defRPr sz="1200"/>
            </a:lvl5pPr>
            <a:lvl6pPr lvl="5" rtl="0">
              <a:buNone/>
              <a:defRPr sz="1200"/>
            </a:lvl6pPr>
            <a:lvl7pPr lvl="6" rtl="0">
              <a:buNone/>
              <a:defRPr sz="1200"/>
            </a:lvl7pPr>
            <a:lvl8pPr lvl="7" rtl="0">
              <a:buNone/>
              <a:defRPr sz="1200"/>
            </a:lvl8pPr>
            <a:lvl9pPr lvl="8" rtl="0">
              <a:buNone/>
              <a:defRPr sz="1200"/>
            </a:lvl9pPr>
          </a:lstStyle>
          <a:p>
            <a:pPr algn="ctr"/>
            <a:fld id="{00000000-1234-1234-1234-123412341234}" type="slidenum">
              <a:rPr lang="en-US" smtClean="0"/>
              <a:pPr algn="ct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962663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7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6" name="Google Shape;796;p61"/>
          <p:cNvSpPr txBox="1">
            <a:spLocks noGrp="1"/>
          </p:cNvSpPr>
          <p:nvPr>
            <p:ph type="sldNum" idx="12"/>
          </p:nvPr>
        </p:nvSpPr>
        <p:spPr>
          <a:xfrm>
            <a:off x="685243" y="4709005"/>
            <a:ext cx="568800" cy="84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Georgia"/>
              <a:buNone/>
              <a:defRPr sz="1067" b="1" i="1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L="0" marR="0" lvl="1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Georgia"/>
              <a:buNone/>
              <a:defRPr sz="1067" b="1" i="1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2pPr>
            <a:lvl3pPr marL="0" marR="0" lvl="2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Georgia"/>
              <a:buNone/>
              <a:defRPr sz="1067" b="1" i="1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3pPr>
            <a:lvl4pPr marL="0" marR="0" lvl="3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Georgia"/>
              <a:buNone/>
              <a:defRPr sz="1067" b="1" i="1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4pPr>
            <a:lvl5pPr marL="0" marR="0" lvl="4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Georgia"/>
              <a:buNone/>
              <a:defRPr sz="1067" b="1" i="1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5pPr>
            <a:lvl6pPr marL="0" marR="0" lvl="5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Georgia"/>
              <a:buNone/>
              <a:defRPr sz="1067" b="1" i="1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6pPr>
            <a:lvl7pPr marL="0" marR="0" lvl="6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Georgia"/>
              <a:buNone/>
              <a:defRPr sz="1067" b="1" i="1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7pPr>
            <a:lvl8pPr marL="0" marR="0" lvl="7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Georgia"/>
              <a:buNone/>
              <a:defRPr sz="1067" b="1" i="1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8pPr>
            <a:lvl9pPr marL="0" marR="0" lvl="8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Georgia"/>
              <a:buNone/>
              <a:defRPr sz="1067" b="1" i="1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97" name="Google Shape;797;p61"/>
          <p:cNvSpPr txBox="1"/>
          <p:nvPr/>
        </p:nvSpPr>
        <p:spPr>
          <a:xfrm>
            <a:off x="9195003" y="6543000"/>
            <a:ext cx="2546000" cy="21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rgbClr val="262626"/>
              </a:solidFill>
            </a:endParaRPr>
          </a:p>
        </p:txBody>
      </p:sp>
      <p:sp>
        <p:nvSpPr>
          <p:cNvPr id="798" name="Google Shape;798;p61"/>
          <p:cNvSpPr txBox="1">
            <a:spLocks noGrp="1"/>
          </p:cNvSpPr>
          <p:nvPr>
            <p:ph type="body" idx="1"/>
          </p:nvPr>
        </p:nvSpPr>
        <p:spPr>
          <a:xfrm>
            <a:off x="438900" y="1560567"/>
            <a:ext cx="11302000" cy="471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marR="0" lvl="0" indent="-30479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219170" marR="0" lvl="1" indent="-304792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828754" marR="0" lvl="2" indent="-304792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2438339" marR="0" lvl="3" indent="-304792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047924" marR="0" lvl="4" indent="-304792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657509" marR="0" lvl="5" indent="-304792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4267093" marR="0" lvl="6" indent="-304792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4876678" marR="0" lvl="7" indent="-304792" algn="l" rtl="0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5486263" marR="0" lvl="8" indent="-304792" algn="l" rtl="0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rgbClr val="000000"/>
              </a:buClr>
              <a:buSzPts val="1200"/>
              <a:buFont typeface="Arial"/>
              <a:buNone/>
              <a:defRPr sz="16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99" name="Google Shape;799;p61"/>
          <p:cNvSpPr txBox="1">
            <a:spLocks noGrp="1"/>
          </p:cNvSpPr>
          <p:nvPr>
            <p:ph type="title"/>
          </p:nvPr>
        </p:nvSpPr>
        <p:spPr>
          <a:xfrm>
            <a:off x="438900" y="670560"/>
            <a:ext cx="11302000" cy="60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2000"/>
              <a:buFont typeface="Georgia"/>
              <a:buNone/>
              <a:defRPr sz="2667" i="0" u="none" strike="noStrike" cap="none">
                <a:solidFill>
                  <a:srgbClr val="3F3F3F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000"/>
              <a:buFont typeface="Georgia"/>
              <a:buNone/>
              <a:defRPr sz="2667">
                <a:latin typeface="Georgia"/>
                <a:ea typeface="Georgia"/>
                <a:cs typeface="Georgia"/>
                <a:sym typeface="Georgia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2000"/>
              <a:buFont typeface="Georgia"/>
              <a:buNone/>
              <a:defRPr sz="2667">
                <a:latin typeface="Georgia"/>
                <a:ea typeface="Georgia"/>
                <a:cs typeface="Georgia"/>
                <a:sym typeface="Georgia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2000"/>
              <a:buFont typeface="Georgia"/>
              <a:buNone/>
              <a:defRPr sz="2667">
                <a:latin typeface="Georgia"/>
                <a:ea typeface="Georgia"/>
                <a:cs typeface="Georgia"/>
                <a:sym typeface="Georgia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2000"/>
              <a:buFont typeface="Georgia"/>
              <a:buNone/>
              <a:defRPr sz="2667">
                <a:latin typeface="Georgia"/>
                <a:ea typeface="Georgia"/>
                <a:cs typeface="Georgia"/>
                <a:sym typeface="Georgia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2000"/>
              <a:buFont typeface="Georgia"/>
              <a:buNone/>
              <a:defRPr sz="2667">
                <a:latin typeface="Georgia"/>
                <a:ea typeface="Georgia"/>
                <a:cs typeface="Georgia"/>
                <a:sym typeface="Georgia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2000"/>
              <a:buFont typeface="Georgia"/>
              <a:buNone/>
              <a:defRPr sz="2667">
                <a:latin typeface="Georgia"/>
                <a:ea typeface="Georgia"/>
                <a:cs typeface="Georgia"/>
                <a:sym typeface="Georgia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2000"/>
              <a:buFont typeface="Georgia"/>
              <a:buNone/>
              <a:defRPr sz="2667">
                <a:latin typeface="Georgia"/>
                <a:ea typeface="Georgia"/>
                <a:cs typeface="Georgia"/>
                <a:sym typeface="Georgia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2000"/>
              <a:buFont typeface="Georgia"/>
              <a:buNone/>
              <a:defRPr sz="2667">
                <a:latin typeface="Georgia"/>
                <a:ea typeface="Georgia"/>
                <a:cs typeface="Georgia"/>
                <a:sym typeface="Georgia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7264773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2000" y="-73811"/>
            <a:ext cx="12456000" cy="7005623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_tradnl"/>
              <a:t>Haga clic para modificar el estilo de subtítulo del patrón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9/12/2022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Classified - Confidential</a:t>
            </a: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  <p:sp>
        <p:nvSpPr>
          <p:cNvPr id="8" name="Rectángulo 7"/>
          <p:cNvSpPr/>
          <p:nvPr userDrawn="1"/>
        </p:nvSpPr>
        <p:spPr>
          <a:xfrm rot="16200000">
            <a:off x="11477540" y="4272183"/>
            <a:ext cx="116730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Classified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2456119658"/>
      </p:ext>
    </p:extLst>
  </p:cSld>
  <p:clrMapOvr>
    <a:masterClrMapping/>
  </p:clrMapOvr>
  <p:transition>
    <p:fade/>
  </p:transition>
  <p:hf sldNum="0"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9/12/2022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Classified - Confidential</a:t>
            </a: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17907643"/>
      </p:ext>
    </p:extLst>
  </p:cSld>
  <p:clrMapOvr>
    <a:masterClrMapping/>
  </p:clrMapOvr>
  <p:transition>
    <p:fade/>
  </p:transition>
  <p:hf sldNum="0"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2000" y="-73811"/>
            <a:ext cx="12456000" cy="7005623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9/12/2022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Classified - Confidential</a:t>
            </a: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9749469"/>
      </p:ext>
    </p:extLst>
  </p:cSld>
  <p:clrMapOvr>
    <a:masterClrMapping/>
  </p:clrMapOvr>
  <p:transition>
    <p:fade/>
  </p:transition>
  <p:hf sldNum="0"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266C2A-82A6-4643-87F5-43F1C7896F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C1935B-79CC-4E2C-AEF4-B30BFA47444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849A3F4-2FD4-4732-BBCC-28B9E3D3CCB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E576F06-8CC8-4126-B0FA-D292900304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F86F0-BDEE-4CB5-84A4-B96733856F2D}" type="datetimeFigureOut">
              <a:rPr lang="en-US" smtClean="0"/>
              <a:t>12/9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65526F0-99BE-4912-B9D7-22928D9CE8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B6F377C-8084-4772-B3B7-5379CACCA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B10AE1-A14C-465E-AFD6-D80BF110E8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685935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9/12/2022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Classified - Confidential</a:t>
            </a: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710199806"/>
      </p:ext>
    </p:extLst>
  </p:cSld>
  <p:clrMapOvr>
    <a:masterClrMapping/>
  </p:clrMapOvr>
  <p:transition>
    <p:fade/>
  </p:transition>
  <p:hf sldNum="0"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9/12/2022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Classified - Confidential</a:t>
            </a:r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515846463"/>
      </p:ext>
    </p:extLst>
  </p:cSld>
  <p:clrMapOvr>
    <a:masterClrMapping/>
  </p:clrMapOvr>
  <p:transition>
    <p:fade/>
  </p:transition>
  <p:hf sldNum="0" hd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9/12/2022</a:t>
            </a:fld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Classified - Confidential</a:t>
            </a: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83520320"/>
      </p:ext>
    </p:extLst>
  </p:cSld>
  <p:clrMapOvr>
    <a:masterClrMapping/>
  </p:clrMapOvr>
  <p:transition>
    <p:fade/>
  </p:transition>
  <p:hf sldNum="0" hd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9/12/2022</a:t>
            </a:fld>
            <a:endParaRPr lang="es-ES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Classified - Confidential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72127011"/>
      </p:ext>
    </p:extLst>
  </p:cSld>
  <p:clrMapOvr>
    <a:masterClrMapping/>
  </p:clrMapOvr>
  <p:transition>
    <p:fade/>
  </p:transition>
  <p:hf sldNum="0" hd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9/12/2022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Classified - Confidential</a:t>
            </a: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231316449"/>
      </p:ext>
    </p:extLst>
  </p:cSld>
  <p:clrMapOvr>
    <a:masterClrMapping/>
  </p:clrMapOvr>
  <p:transition>
    <p:fade/>
  </p:transition>
  <p:hf sldNum="0" hd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9/12/2022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Classified - Confidential</a:t>
            </a: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189879226"/>
      </p:ext>
    </p:extLst>
  </p:cSld>
  <p:clrMapOvr>
    <a:masterClrMapping/>
  </p:clrMapOvr>
  <p:transition>
    <p:fade/>
  </p:transition>
  <p:hf sldNum="0" hd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9/12/2022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Classified - Confidential</a:t>
            </a: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907059846"/>
      </p:ext>
    </p:extLst>
  </p:cSld>
  <p:clrMapOvr>
    <a:masterClrMapping/>
  </p:clrMapOvr>
  <p:transition>
    <p:fade/>
  </p:transition>
  <p:hf sldNum="0" hd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54A09C-00DB-4F49-AFDC-28E01802F799}" type="datetimeFigureOut">
              <a:rPr lang="es-ES" smtClean="0"/>
              <a:t>09/12/2022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ES"/>
              <a:t>Classified - Confidential</a:t>
            </a: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62802752"/>
      </p:ext>
    </p:extLst>
  </p:cSld>
  <p:clrMapOvr>
    <a:masterClrMapping/>
  </p:clrMapOvr>
  <p:transition>
    <p:fade/>
  </p:transition>
  <p:hf sldNum="0" hd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8B0B57-7E80-4A21-AA96-EABBF9A061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64360E1-0AC2-4F0D-8354-C4B6691CE34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927AB5-27B6-4EE5-A77C-60CB976F2A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C9956-5445-4C35-9A58-1D3FDE066BCF}" type="datetimeFigureOut">
              <a:rPr lang="en-US" smtClean="0"/>
              <a:t>12/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47119F-D11C-42AD-840F-34A7C1A0C5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B48D63B-18DB-4B6A-A653-F1B04B0A24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CB3497-7457-49F4-9511-31CBACF5F0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27847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0DA4DB-BE25-4E7F-A367-BFCAF1BB34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641CC8-7376-4F34-8AA4-DA5807B54E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F620B7-BD5E-4945-AA34-104A6335E7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C9956-5445-4C35-9A58-1D3FDE066BCF}" type="datetimeFigureOut">
              <a:rPr lang="en-US" smtClean="0"/>
              <a:t>12/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C71C90-18C4-41BA-A6C6-04B7F74AA0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D145D3-ACEC-48DD-9B9B-00263DB9D5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CB3497-7457-49F4-9511-31CBACF5F0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61948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36068C-3A98-437A-855C-FAD96710A0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12EA11-1E60-4894-BC02-5462C62FD7C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42DD0A-A4B0-4229-A6FA-CD410BBBB9E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7411130-92BF-4EC8-B452-AC14183CBCA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1CBB73E-119F-46A8-A7D1-0740494FE23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6261FFA-C41C-4A6D-A4EA-EA41E3CA8F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F86F0-BDEE-4CB5-84A4-B96733856F2D}" type="datetimeFigureOut">
              <a:rPr lang="en-US" smtClean="0"/>
              <a:t>12/9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C9A30CF-FE63-45F2-97B7-7144D0BC2C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691834-F1ED-4A7B-9A79-A3C94F1194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B10AE1-A14C-465E-AFD6-D80BF110E8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986545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47C2A4-4E07-4E4C-AE3F-B11400231E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CCF46A-2489-4D80-AD78-D76D6706160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CCD2190-B4ED-4279-B657-8F9DC8B9DD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C9956-5445-4C35-9A58-1D3FDE066BCF}" type="datetimeFigureOut">
              <a:rPr lang="en-US" smtClean="0"/>
              <a:t>12/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641973-EF69-472A-80B7-0709D8E883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C74B78-8F84-43F7-B1D8-19C7F574BC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CB3497-7457-49F4-9511-31CBACF5F0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020768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38B982-81EF-4C95-87F6-EBC163F07C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D2C2CD-CC8C-426C-92E1-23388BB2D16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5F66673-86AA-4286-A033-3B7C82BFE4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2F4D206-E721-4EE1-8679-113BD11708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C9956-5445-4C35-9A58-1D3FDE066BCF}" type="datetimeFigureOut">
              <a:rPr lang="en-US" smtClean="0"/>
              <a:t>12/9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657324E-1D88-4A22-8AEC-808DBBDF1C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12EC3CC-1CEC-4A68-9558-2018F32129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CB3497-7457-49F4-9511-31CBACF5F0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72611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BC7BF1-DE09-4FAD-8E92-EACAEDDE02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97D8DB7-F3E6-4D9B-A789-ECDFA683F0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769B420-8D97-4EED-A8A9-04F5C520D5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4975323-93CD-4E13-A49B-7E0E521EF99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39137F8-0C58-49F6-AEF1-84EB7AA917B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8BCE2F8-6EB4-4BF3-9AD6-3700CD0DA0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C9956-5445-4C35-9A58-1D3FDE066BCF}" type="datetimeFigureOut">
              <a:rPr lang="en-US" smtClean="0"/>
              <a:t>12/9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F6FA497-469F-43C7-AED7-AFDA2C7E1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148E3BD-0D49-4C49-98CA-D6ADED86BD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CB3497-7457-49F4-9511-31CBACF5F0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2927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0F3786-683C-444A-9CD5-1989BEC843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68FA700-1739-46B8-9DA5-ED6B9EDFE4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C9956-5445-4C35-9A58-1D3FDE066BCF}" type="datetimeFigureOut">
              <a:rPr lang="en-US" smtClean="0"/>
              <a:t>12/9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26DBEF8-C2D6-4398-8F06-EA6F2C7C4B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9C5F3B-D93F-4EF6-89BE-EE35B8EE35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CB3497-7457-49F4-9511-31CBACF5F0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041135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830543C-881A-43DD-8B42-FF8331FECE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C9956-5445-4C35-9A58-1D3FDE066BCF}" type="datetimeFigureOut">
              <a:rPr lang="en-US" smtClean="0"/>
              <a:t>12/9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1ED07B6-A20E-4AE9-BD4F-84F95D3867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C05622-1758-4098-B8E5-04289D086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CB3497-7457-49F4-9511-31CBACF5F0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38886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667D2B-BC0E-4DAD-A74E-94FE9A9A6A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C3BCCA-BCD7-4BFA-A6F3-F17DB9178A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F387A72-00AF-4361-BBC3-E9EE5347D57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4A5006A-3DEE-4D07-8869-AE00A87D01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C9956-5445-4C35-9A58-1D3FDE066BCF}" type="datetimeFigureOut">
              <a:rPr lang="en-US" smtClean="0"/>
              <a:t>12/9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0D87EF4-FED5-4630-AFB0-07001C299F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F972A0-7042-4405-BCAB-8EFBD91F2D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CB3497-7457-49F4-9511-31CBACF5F0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536604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15F259-583F-479B-8A7F-63510D1C66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83C5636-7CAA-4F1F-926B-3D09B8C84E3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F30DE62-6115-4964-9D40-C424B2C8D85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B1A9A6A-1352-4A16-88D3-4B5877E327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C9956-5445-4C35-9A58-1D3FDE066BCF}" type="datetimeFigureOut">
              <a:rPr lang="en-US" smtClean="0"/>
              <a:t>12/9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BAE0479-EF9B-4E30-82D3-7C3E94F64B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32C75D7-E670-4428-A5F2-167940DFF6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CB3497-7457-49F4-9511-31CBACF5F0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140495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7BC570-C0C1-48D5-8523-78E6796D8B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9FD3400-2B8A-459B-A918-A97FAD8592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F540B4-CD0C-4A7C-8F77-EAC80A49E5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C9956-5445-4C35-9A58-1D3FDE066BCF}" type="datetimeFigureOut">
              <a:rPr lang="en-US" smtClean="0"/>
              <a:t>12/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DCB2CB-C563-48D4-ADBB-FC166A7C12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3C2562-7ACB-482C-A7A6-ECEAC67CBD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CB3497-7457-49F4-9511-31CBACF5F0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997431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896F3CF-0E37-4A7E-A4F5-E084F19F3CE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D355A82-1F72-4898-8816-CB3AAF7FE91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641D1C-9100-437A-A65B-C5EE7FD412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8C9956-5445-4C35-9A58-1D3FDE066BCF}" type="datetimeFigureOut">
              <a:rPr lang="en-US" smtClean="0"/>
              <a:t>12/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6401AE-0F7B-490E-95CD-DEB14F316D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5E005C9-D970-47F4-AEF4-4C429C58C7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CB3497-7457-49F4-9511-31CBACF5F0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414160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v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3774" y="1842986"/>
            <a:ext cx="6466627" cy="1181101"/>
          </a:xfrm>
        </p:spPr>
        <p:txBody>
          <a:bodyPr anchor="b">
            <a:normAutofit/>
          </a:bodyPr>
          <a:lstStyle>
            <a:lvl1pPr algn="l">
              <a:lnSpc>
                <a:spcPct val="90000"/>
              </a:lnSpc>
              <a:defRPr sz="2400" b="1" spc="-30" baseline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43774" y="3176486"/>
            <a:ext cx="6466626" cy="981722"/>
          </a:xfrm>
        </p:spPr>
        <p:txBody>
          <a:bodyPr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22" name="Picture 5">
            <a:extLst>
              <a:ext uri="{FF2B5EF4-FFF2-40B4-BE49-F238E27FC236}">
                <a16:creationId xmlns:a16="http://schemas.microsoft.com/office/drawing/2014/main" id="{2CF35A64-14C0-4EE0-AC32-CCF1EC69DFB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0" y="6718685"/>
            <a:ext cx="12192000" cy="139316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</p:spPr>
      </p:pic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16817F9F-76C2-4F73-A0BE-ED13B12F529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3774" y="6178153"/>
            <a:ext cx="6466626" cy="216606"/>
          </a:xfrm>
        </p:spPr>
        <p:txBody>
          <a:bodyPr>
            <a:normAutofit/>
          </a:bodyPr>
          <a:lstStyle>
            <a:lvl1pPr marL="0" indent="0" algn="l">
              <a:buNone/>
              <a:defRPr sz="10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17DACBEA-6CC4-4087-81FE-2D58F0B7B6C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3774" y="352426"/>
            <a:ext cx="1257300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5790519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C119DA-ACBD-4602-A5C0-EADEA6A8B7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CB1D7EA-C4CA-41AF-84DF-6AD0847516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F86F0-BDEE-4CB5-84A4-B96733856F2D}" type="datetimeFigureOut">
              <a:rPr lang="en-US" smtClean="0"/>
              <a:t>12/9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ED99B38-01E4-4AC4-89CC-210A4BC5D7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398D80-C969-46D3-82D5-5E5D210B9E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B10AE1-A14C-465E-AFD6-D80BF110E8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587353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v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62686" y="1842986"/>
            <a:ext cx="6466627" cy="1181101"/>
          </a:xfrm>
        </p:spPr>
        <p:txBody>
          <a:bodyPr anchor="b">
            <a:normAutofit/>
          </a:bodyPr>
          <a:lstStyle>
            <a:lvl1pPr algn="ctr">
              <a:lnSpc>
                <a:spcPct val="90000"/>
              </a:lnSpc>
              <a:defRPr sz="2400" b="1" spc="-30" baseline="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862686" y="3176486"/>
            <a:ext cx="6466626" cy="981722"/>
          </a:xfrm>
        </p:spPr>
        <p:txBody>
          <a:bodyPr>
            <a:noAutofit/>
          </a:bodyPr>
          <a:lstStyle>
            <a:lvl1pPr marL="0" indent="0" algn="ctr">
              <a:buNone/>
              <a:defRPr sz="1800" b="0">
                <a:solidFill>
                  <a:schemeClr val="bg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22" name="Picture 5">
            <a:extLst>
              <a:ext uri="{FF2B5EF4-FFF2-40B4-BE49-F238E27FC236}">
                <a16:creationId xmlns:a16="http://schemas.microsoft.com/office/drawing/2014/main" id="{2CF35A64-14C0-4EE0-AC32-CCF1EC69DFB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0" y="6718685"/>
            <a:ext cx="12192000" cy="139316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noFill/>
          </a:ln>
        </p:spPr>
      </p:pic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16817F9F-76C2-4F73-A0BE-ED13B12F529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62687" y="6178153"/>
            <a:ext cx="6466626" cy="216606"/>
          </a:xfrm>
        </p:spPr>
        <p:txBody>
          <a:bodyPr>
            <a:normAutofit/>
          </a:bodyPr>
          <a:lstStyle>
            <a:lvl1pPr marL="0" indent="0" algn="ctr">
              <a:buNone/>
              <a:defRPr sz="1000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17DACBEA-6CC4-4087-81FE-2D58F0B7B6C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467350" y="352426"/>
            <a:ext cx="1257300" cy="72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1953320"/>
      </p:ext>
    </p:extLst>
  </p:cSld>
  <p:clrMapOvr>
    <a:masterClrMapping/>
  </p:clrMapOvr>
  <p:hf hdr="0" ft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ontent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0707" y="266701"/>
            <a:ext cx="11431491" cy="369332"/>
          </a:xfrm>
        </p:spPr>
        <p:txBody>
          <a:bodyPr wrap="square" anchor="t">
            <a:spAutoFit/>
          </a:bodyPr>
          <a:lstStyle>
            <a:lvl1pPr>
              <a:lnSpc>
                <a:spcPct val="100000"/>
              </a:lnSpc>
              <a:defRPr sz="2400" b="1" spc="-30" baseline="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489200" y="6300335"/>
            <a:ext cx="8659446" cy="365125"/>
          </a:xfrm>
        </p:spPr>
        <p:txBody>
          <a:bodyPr anchor="b"/>
          <a:lstStyle>
            <a:lvl1pPr algn="l">
              <a:defRPr sz="8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456888" y="6492693"/>
            <a:ext cx="355600" cy="168276"/>
          </a:xfrm>
        </p:spPr>
        <p:txBody>
          <a:bodyPr anchor="b"/>
          <a:lstStyle>
            <a:lvl1pPr>
              <a:defRPr sz="800">
                <a:solidFill>
                  <a:schemeClr val="bg2"/>
                </a:solidFill>
              </a:defRPr>
            </a:lvl1pPr>
          </a:lstStyle>
          <a:p>
            <a:fld id="{AD8668A5-F356-46BF-92E0-4330486313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3"/>
          </p:nvPr>
        </p:nvSpPr>
        <p:spPr>
          <a:xfrm>
            <a:off x="390707" y="914400"/>
            <a:ext cx="11426635" cy="5257800"/>
          </a:xfrm>
        </p:spPr>
        <p:txBody>
          <a:bodyPr/>
          <a:lstStyle>
            <a:lvl1pPr marL="0" indent="0">
              <a:lnSpc>
                <a:spcPct val="114000"/>
              </a:lnSpc>
              <a:spcAft>
                <a:spcPts val="1000"/>
              </a:spcAft>
              <a:buNone/>
              <a:defRPr sz="1800"/>
            </a:lvl1pPr>
            <a:lvl2pPr>
              <a:lnSpc>
                <a:spcPct val="114000"/>
              </a:lnSpc>
              <a:spcAft>
                <a:spcPts val="1000"/>
              </a:spcAft>
              <a:defRPr sz="1600"/>
            </a:lvl2pPr>
            <a:lvl3pPr>
              <a:lnSpc>
                <a:spcPct val="114000"/>
              </a:lnSpc>
              <a:spcAft>
                <a:spcPts val="1000"/>
              </a:spcAft>
              <a:defRPr sz="1400"/>
            </a:lvl3pPr>
            <a:lvl4pPr>
              <a:lnSpc>
                <a:spcPct val="114000"/>
              </a:lnSpc>
              <a:spcAft>
                <a:spcPts val="1000"/>
              </a:spcAft>
              <a:defRPr sz="1400"/>
            </a:lvl4pPr>
            <a:lvl5pPr>
              <a:lnSpc>
                <a:spcPct val="114000"/>
              </a:lnSpc>
              <a:spcAft>
                <a:spcPts val="1000"/>
              </a:spcAft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5BEE5ADE-7FCF-4790-AFEC-E11575711C7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0707" y="6464239"/>
            <a:ext cx="1542131" cy="263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8896829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AF023DC-E800-4CF2-9DC3-49FDD67750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F86F0-BDEE-4CB5-84A4-B96733856F2D}" type="datetimeFigureOut">
              <a:rPr lang="en-US" smtClean="0"/>
              <a:t>12/9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22A3391-72BB-46DD-96D7-1D83C7369B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469B5C-0A25-480E-AE78-C619286DE7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B10AE1-A14C-465E-AFD6-D80BF110E8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46949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8A8299-545F-4712-A904-2B60D701A7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712FF2-A9FE-4C8F-8219-A95A69905B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9CB12D8-D6AE-4B66-A2A2-FCDD817A5B6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724B489-BC60-41D8-81B6-5E93EA2BE6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F86F0-BDEE-4CB5-84A4-B96733856F2D}" type="datetimeFigureOut">
              <a:rPr lang="en-US" smtClean="0"/>
              <a:t>12/9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35A4941-D090-4C75-8642-BC7AFEF8E8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638E3C-414C-4818-8A00-8B1A6541BD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B10AE1-A14C-465E-AFD6-D80BF110E8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88149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3752BA-CCBC-4F95-AD7C-02674E0CB6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6C8ED97-AF38-45FA-80C2-0383FDF23BB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79BA715-08C1-4B95-A384-A9A06BEA0B3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3B52687-9C50-4A9A-8D58-9BF86B5E6B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F86F0-BDEE-4CB5-84A4-B96733856F2D}" type="datetimeFigureOut">
              <a:rPr lang="en-US" smtClean="0"/>
              <a:t>12/9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1B65B3-F45C-484B-94A0-0FBA32F304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08FCE00-3CA6-47AA-8584-114E3ECBB6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B10AE1-A14C-465E-AFD6-D80BF110E8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06943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image" Target="../media/image1.jpg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9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A11FEBE-9E15-498E-A98B-36041040DC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80F463-4253-4883-A730-B709736E41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E1C04C-2707-496C-9AE4-56ABE30402A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8AF86F0-BDEE-4CB5-84A4-B96733856F2D}" type="datetimeFigureOut">
              <a:rPr lang="en-US" smtClean="0"/>
              <a:t>12/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CA3D6E-1C85-4B0D-B211-4631C4B1752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D86E12-4372-4098-B077-044EF01FD7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B10AE1-A14C-465E-AFD6-D80BF110E8D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MSIPCMContentMarking" descr="{&quot;HashCode&quot;:-628114645,&quot;Placement&quot;:&quot;Footer&quot;,&quot;Top&quot;:519.343,&quot;Left&quot;:420.7514,&quot;SlideWidth&quot;:960,&quot;SlideHeight&quot;:540}">
            <a:extLst>
              <a:ext uri="{FF2B5EF4-FFF2-40B4-BE49-F238E27FC236}">
                <a16:creationId xmlns:a16="http://schemas.microsoft.com/office/drawing/2014/main" id="{03F1DC1D-42A5-44C9-A709-F1321109FF89}"/>
              </a:ext>
            </a:extLst>
          </p:cNvPr>
          <p:cNvSpPr txBox="1"/>
          <p:nvPr userDrawn="1"/>
        </p:nvSpPr>
        <p:spPr>
          <a:xfrm>
            <a:off x="5343543" y="6595656"/>
            <a:ext cx="1504914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Classified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831268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97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2000" y="-73811"/>
            <a:ext cx="12456000" cy="7005622"/>
          </a:xfrm>
          <a:prstGeom prst="rect">
            <a:avLst/>
          </a:prstGeom>
        </p:spPr>
      </p:pic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54A09C-00DB-4F49-AFDC-28E01802F799}" type="datetimeFigureOut">
              <a:rPr lang="es-ES" smtClean="0"/>
              <a:t>09/12/2022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  <p:sp>
        <p:nvSpPr>
          <p:cNvPr id="8" name="Rectángulo 7"/>
          <p:cNvSpPr/>
          <p:nvPr userDrawn="1"/>
        </p:nvSpPr>
        <p:spPr>
          <a:xfrm rot="16200000">
            <a:off x="11477540" y="4272183"/>
            <a:ext cx="116730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800">
                <a:solidFill>
                  <a:schemeClr val="bg1">
                    <a:lumMod val="50000"/>
                  </a:schemeClr>
                </a:solidFill>
              </a:rPr>
              <a:t>Classified - Confidential</a:t>
            </a:r>
            <a:endParaRPr lang="en-US" sz="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MSIPCMContentMarking" descr="{&quot;HashCode&quot;:-628114645,&quot;Placement&quot;:&quot;Footer&quot;,&quot;Top&quot;:519.343,&quot;Left&quot;:420.7514,&quot;SlideWidth&quot;:960,&quot;SlideHeight&quot;:540}">
            <a:extLst>
              <a:ext uri="{FF2B5EF4-FFF2-40B4-BE49-F238E27FC236}">
                <a16:creationId xmlns:a16="http://schemas.microsoft.com/office/drawing/2014/main" id="{BE491D14-9D59-41D9-B9A5-E086BEDCC02C}"/>
              </a:ext>
            </a:extLst>
          </p:cNvPr>
          <p:cNvSpPr txBox="1"/>
          <p:nvPr userDrawn="1"/>
        </p:nvSpPr>
        <p:spPr>
          <a:xfrm>
            <a:off x="5343543" y="6595656"/>
            <a:ext cx="1504914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Classified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02753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</p:sldLayoutIdLst>
  <p:transition>
    <p:fade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2000" y="-73811"/>
            <a:ext cx="12456000" cy="7005622"/>
          </a:xfrm>
          <a:prstGeom prst="rect">
            <a:avLst/>
          </a:prstGeom>
        </p:spPr>
      </p:pic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54A09C-00DB-4F49-AFDC-28E01802F799}" type="datetimeFigureOut">
              <a:rPr lang="es-ES" smtClean="0"/>
              <a:t>09/12/2022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  <p:sp>
        <p:nvSpPr>
          <p:cNvPr id="8" name="MSIPCMContentMarking" descr="{&quot;HashCode&quot;:-628114645,&quot;Placement&quot;:&quot;Footer&quot;,&quot;Top&quot;:519.343,&quot;Left&quot;:420.7514,&quot;SlideWidth&quot;:960,&quot;SlideHeight&quot;:540}">
            <a:extLst>
              <a:ext uri="{FF2B5EF4-FFF2-40B4-BE49-F238E27FC236}">
                <a16:creationId xmlns:a16="http://schemas.microsoft.com/office/drawing/2014/main" id="{9225C0A1-88D3-4FEA-A909-50C7F11D2F27}"/>
              </a:ext>
            </a:extLst>
          </p:cNvPr>
          <p:cNvSpPr txBox="1"/>
          <p:nvPr userDrawn="1"/>
        </p:nvSpPr>
        <p:spPr>
          <a:xfrm>
            <a:off x="5343543" y="6595656"/>
            <a:ext cx="1504914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Classified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4021597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7" r:id="rId6"/>
    <p:sldLayoutId id="2147483778" r:id="rId7"/>
    <p:sldLayoutId id="2147483779" r:id="rId8"/>
    <p:sldLayoutId id="2147483780" r:id="rId9"/>
    <p:sldLayoutId id="2147483781" r:id="rId10"/>
    <p:sldLayoutId id="2147483782" r:id="rId11"/>
    <p:sldLayoutId id="2147483810" r:id="rId12"/>
    <p:sldLayoutId id="2147483811" r:id="rId13"/>
  </p:sldLayoutIdLst>
  <p:transition>
    <p:fade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2000" y="-73811"/>
            <a:ext cx="12456000" cy="7005622"/>
          </a:xfrm>
          <a:prstGeom prst="rect">
            <a:avLst/>
          </a:prstGeom>
        </p:spPr>
      </p:pic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54A09C-00DB-4F49-AFDC-28E01802F799}" type="datetimeFigureOut">
              <a:rPr lang="es-ES" smtClean="0"/>
              <a:t>09/12/2022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s-ES"/>
              <a:t>Classified - Confidential</a:t>
            </a:r>
            <a:endParaRPr lang="es-ES" dirty="0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C42D04-545D-724F-AE55-0BFB75ECAD94}" type="slidenum">
              <a:rPr lang="es-ES" smtClean="0"/>
              <a:t>‹#›</a:t>
            </a:fld>
            <a:endParaRPr lang="es-ES"/>
          </a:p>
        </p:txBody>
      </p:sp>
      <p:sp>
        <p:nvSpPr>
          <p:cNvPr id="8" name="Rectángulo 7"/>
          <p:cNvSpPr/>
          <p:nvPr userDrawn="1"/>
        </p:nvSpPr>
        <p:spPr>
          <a:xfrm rot="16200000">
            <a:off x="11477540" y="4272183"/>
            <a:ext cx="116730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800">
                <a:solidFill>
                  <a:schemeClr val="bg1">
                    <a:lumMod val="50000"/>
                  </a:schemeClr>
                </a:solidFill>
              </a:rPr>
              <a:t>Classified - Confidential</a:t>
            </a:r>
            <a:endParaRPr lang="en-US" sz="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" name="MSIPCMContentMarking" descr="{&quot;HashCode&quot;:-628114645,&quot;Placement&quot;:&quot;Footer&quot;,&quot;Top&quot;:519.343,&quot;Left&quot;:420.7514,&quot;SlideWidth&quot;:960,&quot;SlideHeight&quot;:540}">
            <a:extLst>
              <a:ext uri="{FF2B5EF4-FFF2-40B4-BE49-F238E27FC236}">
                <a16:creationId xmlns:a16="http://schemas.microsoft.com/office/drawing/2014/main" id="{FC9628CC-842E-4656-BC31-5CB14725A070}"/>
              </a:ext>
            </a:extLst>
          </p:cNvPr>
          <p:cNvSpPr txBox="1"/>
          <p:nvPr userDrawn="1"/>
        </p:nvSpPr>
        <p:spPr>
          <a:xfrm>
            <a:off x="5343543" y="6595656"/>
            <a:ext cx="1504914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Classified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377174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  <p:sldLayoutId id="2147483791" r:id="rId8"/>
    <p:sldLayoutId id="2147483792" r:id="rId9"/>
    <p:sldLayoutId id="2147483793" r:id="rId10"/>
    <p:sldLayoutId id="2147483794" r:id="rId11"/>
  </p:sldLayoutIdLst>
  <p:transition>
    <p:fade/>
  </p:transition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1.png" descr="Screen Shot 2017-04-18 at 10.11.50 AM.png">
            <a:extLst>
              <a:ext uri="{FF2B5EF4-FFF2-40B4-BE49-F238E27FC236}">
                <a16:creationId xmlns:a16="http://schemas.microsoft.com/office/drawing/2014/main" id="{C7204CCB-F3F3-493B-A6C5-A151D726FC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/>
          <a:srcRect r="46799"/>
          <a:stretch/>
        </p:blipFill>
        <p:spPr>
          <a:xfrm>
            <a:off x="-2641" y="0"/>
            <a:ext cx="12194641" cy="6858000"/>
          </a:xfrm>
          <a:prstGeom prst="rect">
            <a:avLst/>
          </a:prstGeom>
          <a:ln w="12700">
            <a:noFill/>
            <a:miter lim="400000"/>
          </a:ln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5C026B6-49FA-4B6F-BEEB-7BEFEA1A3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794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9A9A4F-E9D8-4128-AE5E-BAB3D66FD9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354347"/>
            <a:ext cx="10515600" cy="48226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54825F-4B7F-4B75-B6A4-2720360BDB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8C9956-5445-4C35-9A58-1D3FDE066BCF}" type="datetimeFigureOut">
              <a:rPr lang="en-US" smtClean="0"/>
              <a:t>12/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022920-6AD2-42D4-AE41-0FE3282E44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1F8777-7E3B-47F7-8B9F-25D766DFE5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CB3497-7457-49F4-9511-31CBACF5F03A}" type="slidenum">
              <a:rPr lang="en-US" smtClean="0"/>
              <a:t>‹#›</a:t>
            </a:fld>
            <a:endParaRPr lang="en-US"/>
          </a:p>
        </p:txBody>
      </p:sp>
      <p:sp>
        <p:nvSpPr>
          <p:cNvPr id="9" name="MSIPCMContentMarking" descr="{&quot;HashCode&quot;:-628114645,&quot;Placement&quot;:&quot;Footer&quot;,&quot;Top&quot;:519.343,&quot;Left&quot;:420.7514,&quot;SlideWidth&quot;:960,&quot;SlideHeight&quot;:540}">
            <a:extLst>
              <a:ext uri="{FF2B5EF4-FFF2-40B4-BE49-F238E27FC236}">
                <a16:creationId xmlns:a16="http://schemas.microsoft.com/office/drawing/2014/main" id="{66A6DEF3-736D-4F7F-9604-31F29ED1D935}"/>
              </a:ext>
            </a:extLst>
          </p:cNvPr>
          <p:cNvSpPr txBox="1"/>
          <p:nvPr userDrawn="1"/>
        </p:nvSpPr>
        <p:spPr>
          <a:xfrm>
            <a:off x="5343543" y="6595656"/>
            <a:ext cx="1504914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</a:rPr>
              <a:t>Classified - Confidential</a:t>
            </a:r>
          </a:p>
        </p:txBody>
      </p:sp>
    </p:spTree>
    <p:extLst>
      <p:ext uri="{BB962C8B-B14F-4D97-AF65-F5344CB8AC3E}">
        <p14:creationId xmlns:p14="http://schemas.microsoft.com/office/powerpoint/2010/main" val="9770809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  <p:sldLayoutId id="2147483804" r:id="rId9"/>
    <p:sldLayoutId id="2147483805" r:id="rId10"/>
    <p:sldLayoutId id="2147483806" r:id="rId11"/>
    <p:sldLayoutId id="2147483807" r:id="rId12"/>
    <p:sldLayoutId id="2147483808" r:id="rId13"/>
    <p:sldLayoutId id="2147483809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bg1"/>
          </a:solidFill>
          <a:latin typeface="TCCC-UnityHeadline" panose="020B0605030303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TCCC-UnityText" panose="020B0605030303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TCCC-UnityText" panose="020B0605030303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TCCC-UnityText" panose="020B0605030303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TCCC-UnityText" panose="020B0605030303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bg1"/>
          </a:solidFill>
          <a:latin typeface="TCCC-UnityText" panose="020B0605030303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microsoft.com/office/2007/relationships/hdphoto" Target="../media/hdphoto1.wdp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image" Target="../media/image41.png"/><Relationship Id="rId3" Type="http://schemas.openxmlformats.org/officeDocument/2006/relationships/image" Target="../media/image26.png"/><Relationship Id="rId7" Type="http://schemas.openxmlformats.org/officeDocument/2006/relationships/image" Target="../media/image31.png"/><Relationship Id="rId12" Type="http://schemas.openxmlformats.org/officeDocument/2006/relationships/image" Target="../media/image40.png"/><Relationship Id="rId17" Type="http://schemas.openxmlformats.org/officeDocument/2006/relationships/image" Target="../media/image45.png"/><Relationship Id="rId2" Type="http://schemas.openxmlformats.org/officeDocument/2006/relationships/notesSlide" Target="../notesSlides/notesSlide11.xml"/><Relationship Id="rId16" Type="http://schemas.openxmlformats.org/officeDocument/2006/relationships/image" Target="../media/image44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35.png"/><Relationship Id="rId11" Type="http://schemas.openxmlformats.org/officeDocument/2006/relationships/image" Target="../media/image39.png"/><Relationship Id="rId5" Type="http://schemas.openxmlformats.org/officeDocument/2006/relationships/image" Target="../media/image34.png"/><Relationship Id="rId15" Type="http://schemas.openxmlformats.org/officeDocument/2006/relationships/image" Target="../media/image43.png"/><Relationship Id="rId10" Type="http://schemas.openxmlformats.org/officeDocument/2006/relationships/image" Target="../media/image38.png"/><Relationship Id="rId4" Type="http://schemas.openxmlformats.org/officeDocument/2006/relationships/image" Target="../media/image33.jpeg"/><Relationship Id="rId9" Type="http://schemas.openxmlformats.org/officeDocument/2006/relationships/image" Target="../media/image37.png"/><Relationship Id="rId14" Type="http://schemas.openxmlformats.org/officeDocument/2006/relationships/image" Target="../media/image42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46.png"/><Relationship Id="rId7" Type="http://schemas.openxmlformats.org/officeDocument/2006/relationships/image" Target="../media/image4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.xml"/><Relationship Id="rId6" Type="http://schemas.microsoft.com/office/2007/relationships/hdphoto" Target="../media/hdphoto2.wdp"/><Relationship Id="rId5" Type="http://schemas.openxmlformats.org/officeDocument/2006/relationships/image" Target="../media/image48.png"/><Relationship Id="rId4" Type="http://schemas.openxmlformats.org/officeDocument/2006/relationships/image" Target="../media/image47.png"/><Relationship Id="rId9" Type="http://schemas.openxmlformats.org/officeDocument/2006/relationships/image" Target="../media/image50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25.png"/><Relationship Id="rId4" Type="http://schemas.openxmlformats.org/officeDocument/2006/relationships/image" Target="../media/image5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image" Target="../media/image56.jpeg"/><Relationship Id="rId7" Type="http://schemas.openxmlformats.org/officeDocument/2006/relationships/image" Target="../media/image6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59.png"/><Relationship Id="rId5" Type="http://schemas.openxmlformats.org/officeDocument/2006/relationships/image" Target="../media/image58.jpg"/><Relationship Id="rId4" Type="http://schemas.openxmlformats.org/officeDocument/2006/relationships/image" Target="../media/image57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62.png"/><Relationship Id="rId7" Type="http://schemas.openxmlformats.org/officeDocument/2006/relationships/image" Target="../media/image64.png"/><Relationship Id="rId12" Type="http://schemas.openxmlformats.org/officeDocument/2006/relationships/image" Target="../media/image66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32.png"/><Relationship Id="rId11" Type="http://schemas.openxmlformats.org/officeDocument/2006/relationships/image" Target="../media/image65.png"/><Relationship Id="rId5" Type="http://schemas.openxmlformats.org/officeDocument/2006/relationships/image" Target="../media/image31.png"/><Relationship Id="rId10" Type="http://schemas.openxmlformats.org/officeDocument/2006/relationships/image" Target="../media/image33.jpeg"/><Relationship Id="rId4" Type="http://schemas.openxmlformats.org/officeDocument/2006/relationships/image" Target="../media/image63.png"/><Relationship Id="rId9" Type="http://schemas.openxmlformats.org/officeDocument/2006/relationships/image" Target="../media/image2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9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25.png"/><Relationship Id="rId4" Type="http://schemas.openxmlformats.org/officeDocument/2006/relationships/image" Target="../media/image67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emf"/><Relationship Id="rId1" Type="http://schemas.openxmlformats.org/officeDocument/2006/relationships/slideLayout" Target="../slideLayouts/slideLayout2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1120680-C44C-414D-9F02-C8DF42C9FE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1120680-C44C-414D-9F02-C8DF42C9FE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9B21B97-735A-4F59-BD47-FD947CDF864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75294BD-8458-4151-8D22-1386CDF81BEC}"/>
              </a:ext>
            </a:extLst>
          </p:cNvPr>
          <p:cNvSpPr/>
          <p:nvPr/>
        </p:nvSpPr>
        <p:spPr>
          <a:xfrm>
            <a:off x="585018" y="1417359"/>
            <a:ext cx="11371007" cy="5533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tegory Expansion!</a:t>
            </a:r>
          </a:p>
          <a:p>
            <a:pPr marL="914400" marR="0" lvl="1" indent="-4572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de-DE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otprint: Incidence &amp; Frequency</a:t>
            </a:r>
          </a:p>
          <a:p>
            <a:pPr marL="914400" marR="0" lvl="1" indent="-4572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de-DE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ffordability, Premiumness </a:t>
            </a:r>
          </a:p>
          <a:p>
            <a:pPr marL="914400" marR="0" lvl="1" indent="-4572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de-DE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oyalty 		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914400" marR="0" lvl="1" indent="-4572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de-DE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pace: SOVI &amp; Pantry</a:t>
            </a:r>
          </a:p>
          <a:p>
            <a:pPr marL="457200" marR="0" lvl="0" indent="-4572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stainability</a:t>
            </a:r>
            <a:br>
              <a: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endParaRPr kumimoji="0" lang="de-DE" sz="3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Þ"/>
              <a:tabLst/>
              <a:defRPr/>
            </a:pPr>
            <a:r>
              <a: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 one-of-a kind WIN-WIN-WIN-WIN System Proposition - </a:t>
            </a:r>
            <a:r>
              <a: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F40009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WIN</a:t>
            </a:r>
            <a:r>
              <a:rPr kumimoji="0" lang="de-DE" sz="3200" b="1" i="0" u="none" strike="noStrike" kern="1200" cap="none" spc="0" normalizeH="0" baseline="30000" noProof="0" dirty="0">
                <a:ln>
                  <a:noFill/>
                </a:ln>
                <a:solidFill>
                  <a:srgbClr val="F40009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4</a:t>
            </a:r>
          </a:p>
          <a:p>
            <a:pPr marL="457200" marR="0" lvl="0" indent="-4572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Þ"/>
              <a:tabLst/>
              <a:defRPr/>
            </a:pPr>
            <a:endParaRPr kumimoji="0" lang="de-DE" sz="3200" b="1" i="0" u="none" strike="noStrike" kern="1200" cap="none" spc="0" normalizeH="0" baseline="30000" noProof="0" dirty="0">
              <a:ln>
                <a:noFill/>
              </a:ln>
              <a:solidFill>
                <a:srgbClr val="F40009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2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		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55651D1-C6E2-4B11-8AA4-0995A5A3D4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6" y="274638"/>
            <a:ext cx="11582399" cy="490066"/>
          </a:xfrm>
        </p:spPr>
        <p:txBody>
          <a:bodyPr>
            <a:normAutofit fontScale="90000"/>
          </a:bodyPr>
          <a:lstStyle/>
          <a:p>
            <a:r>
              <a:rPr lang="de-DE" dirty="0"/>
              <a:t>Returnables/ Refillables are a powerful tool to drive Category Leadership</a:t>
            </a:r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1A73420-922D-49BA-A013-4D1A750B999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34632" y="3064319"/>
            <a:ext cx="3385237" cy="1895733"/>
          </a:xfrm>
          <a:prstGeom prst="rect">
            <a:avLst/>
          </a:prstGeom>
        </p:spPr>
      </p:pic>
      <p:pic>
        <p:nvPicPr>
          <p:cNvPr id="82951" name="Picture 7" descr="Coca-Cola MEHRWEG Glas, (24 x 0,2 l): Amazon.de: Lebensmittel &amp; Getränke">
            <a:extLst>
              <a:ext uri="{FF2B5EF4-FFF2-40B4-BE49-F238E27FC236}">
                <a16:creationId xmlns:a16="http://schemas.microsoft.com/office/drawing/2014/main" id="{067A0C36-9A25-4B6F-BEFF-6B160D3549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8965" y="1073574"/>
            <a:ext cx="2457450" cy="1857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1" descr="Coca-Cola EU Dialogue on Twitter: &quot;Thanks to a new agreement with  @IoniqaCircular, we're taking steps to be at the forefront of the enhanced  recycling movement, which turns previously used plastic into new">
            <a:extLst>
              <a:ext uri="{FF2B5EF4-FFF2-40B4-BE49-F238E27FC236}">
                <a16:creationId xmlns:a16="http://schemas.microsoft.com/office/drawing/2014/main" id="{4CB6AE8D-3FC2-4DE7-B288-8636DE5BC3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7961" y="1417359"/>
            <a:ext cx="1729021" cy="12950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0CC4707-55D9-4069-BB73-9547DA0C7AB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2B46BF9-5CDD-45D4-A71F-E8AA6C5F590C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67813" t="42460" r="17945" b="53154"/>
          <a:stretch/>
        </p:blipFill>
        <p:spPr>
          <a:xfrm>
            <a:off x="8277226" y="2577833"/>
            <a:ext cx="1736315" cy="30079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C4F445F-01CB-4DD3-842C-C882C4AD9FB2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82053" r="8985" b="94167"/>
          <a:stretch/>
        </p:blipFill>
        <p:spPr>
          <a:xfrm>
            <a:off x="11099390" y="7928"/>
            <a:ext cx="1092610" cy="40005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2D21E71-87F5-4D81-BF61-6708AC216FA9}"/>
              </a:ext>
            </a:extLst>
          </p:cNvPr>
          <p:cNvSpPr txBox="1"/>
          <p:nvPr/>
        </p:nvSpPr>
        <p:spPr>
          <a:xfrm>
            <a:off x="10461713" y="5997750"/>
            <a:ext cx="161230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RETURNABLES </a:t>
            </a:r>
          </a:p>
          <a:p>
            <a:pPr algn="ctr"/>
            <a:r>
              <a:rPr lang="en-US" b="1" dirty="0">
                <a:solidFill>
                  <a:schemeClr val="bg1"/>
                </a:solidFill>
              </a:rPr>
              <a:t>SUMMIT</a:t>
            </a:r>
          </a:p>
        </p:txBody>
      </p:sp>
    </p:spTree>
    <p:extLst>
      <p:ext uri="{BB962C8B-B14F-4D97-AF65-F5344CB8AC3E}">
        <p14:creationId xmlns:p14="http://schemas.microsoft.com/office/powerpoint/2010/main" val="29717826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300" y="405873"/>
            <a:ext cx="778603" cy="540442"/>
          </a:xfrm>
          <a:prstGeom prst="rect">
            <a:avLst/>
          </a:prstGeom>
        </p:spPr>
      </p:pic>
      <p:sp>
        <p:nvSpPr>
          <p:cNvPr id="3" name="CuadroTexto 53">
            <a:extLst>
              <a:ext uri="{FF2B5EF4-FFF2-40B4-BE49-F238E27FC236}">
                <a16:creationId xmlns:a16="http://schemas.microsoft.com/office/drawing/2014/main" id="{1A833673-8EE0-4E78-AEDE-3DB94EFB5E0A}"/>
              </a:ext>
            </a:extLst>
          </p:cNvPr>
          <p:cNvSpPr txBox="1"/>
          <p:nvPr/>
        </p:nvSpPr>
        <p:spPr>
          <a:xfrm>
            <a:off x="1226061" y="474258"/>
            <a:ext cx="1019087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 should focus on our consumer Drivers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srgbClr val="E8210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CuadroTexto 3"/>
          <p:cNvSpPr txBox="1"/>
          <p:nvPr/>
        </p:nvSpPr>
        <p:spPr>
          <a:xfrm>
            <a:off x="1230157" y="942365"/>
            <a:ext cx="643338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turn them into our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2400" b="1" i="1" u="none" strike="noStrike" kern="1200" cap="none" spc="0" normalizeH="0" baseline="0" noProof="0" dirty="0" err="1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ability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dge</a:t>
            </a:r>
          </a:p>
        </p:txBody>
      </p:sp>
      <p:pic>
        <p:nvPicPr>
          <p:cNvPr id="5" name="Picture 87">
            <a:extLst>
              <a:ext uri="{FF2B5EF4-FFF2-40B4-BE49-F238E27FC236}">
                <a16:creationId xmlns:a16="http://schemas.microsoft.com/office/drawing/2014/main" id="{555228BF-4256-431F-BB8A-6BB876A3ECE6}"/>
              </a:ext>
            </a:extLst>
          </p:cNvPr>
          <p:cNvPicPr>
            <a:picLocks/>
          </p:cNvPicPr>
          <p:nvPr/>
        </p:nvPicPr>
        <p:blipFill rotWithShape="1">
          <a:blip r:embed="rId4"/>
          <a:srcRect l="20027" t="7326" r="20422" b="2566"/>
          <a:stretch/>
        </p:blipFill>
        <p:spPr>
          <a:xfrm>
            <a:off x="7252162" y="2287418"/>
            <a:ext cx="2704624" cy="2704624"/>
          </a:xfrm>
          <a:prstGeom prst="ellipse">
            <a:avLst/>
          </a:prstGeom>
          <a:ln w="63500">
            <a:solidFill>
              <a:schemeClr val="bg1"/>
            </a:solidFill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20000"/>
              </a:schemeClr>
            </a:outerShdw>
          </a:effectLst>
        </p:spPr>
      </p:pic>
      <p:sp>
        <p:nvSpPr>
          <p:cNvPr id="10" name="TextBox 42">
            <a:extLst>
              <a:ext uri="{FF2B5EF4-FFF2-40B4-BE49-F238E27FC236}">
                <a16:creationId xmlns:a16="http://schemas.microsoft.com/office/drawing/2014/main" id="{2903B980-1A4C-4FED-B882-73B2AB8C11DA}"/>
              </a:ext>
            </a:extLst>
          </p:cNvPr>
          <p:cNvSpPr txBox="1"/>
          <p:nvPr/>
        </p:nvSpPr>
        <p:spPr>
          <a:xfrm>
            <a:off x="9631801" y="2160341"/>
            <a:ext cx="132810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wered by the brands´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quity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E8210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CuadroTexto 16"/>
          <p:cNvSpPr txBox="1"/>
          <p:nvPr/>
        </p:nvSpPr>
        <p:spPr>
          <a:xfrm>
            <a:off x="6139924" y="5921659"/>
            <a:ext cx="509756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but about the whole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lue proposition,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owered by the Brand’s attributes and Equity, which makes it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pealing and relevant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o consumers.</a:t>
            </a:r>
            <a:endParaRPr kumimoji="0" lang="es-AR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8" name="Conector recto 17"/>
          <p:cNvCxnSpPr/>
          <p:nvPr/>
        </p:nvCxnSpPr>
        <p:spPr>
          <a:xfrm>
            <a:off x="5957726" y="5890935"/>
            <a:ext cx="0" cy="892444"/>
          </a:xfrm>
          <a:prstGeom prst="line">
            <a:avLst/>
          </a:prstGeom>
          <a:ln w="25400">
            <a:solidFill>
              <a:srgbClr val="E8210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uadroTexto 18"/>
          <p:cNvSpPr txBox="1"/>
          <p:nvPr/>
        </p:nvSpPr>
        <p:spPr>
          <a:xfrm>
            <a:off x="2968627" y="5983214"/>
            <a:ext cx="276677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ables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dge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s not only about the bottle</a:t>
            </a:r>
          </a:p>
        </p:txBody>
      </p:sp>
      <p:sp>
        <p:nvSpPr>
          <p:cNvPr id="24" name="Rectángulo 23"/>
          <p:cNvSpPr/>
          <p:nvPr/>
        </p:nvSpPr>
        <p:spPr>
          <a:xfrm>
            <a:off x="10981763" y="2189138"/>
            <a:ext cx="69515" cy="904290"/>
          </a:xfrm>
          <a:prstGeom prst="rect">
            <a:avLst/>
          </a:prstGeom>
          <a:solidFill>
            <a:srgbClr val="E821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3" name="Agrupar 32"/>
          <p:cNvGrpSpPr/>
          <p:nvPr/>
        </p:nvGrpSpPr>
        <p:grpSpPr>
          <a:xfrm>
            <a:off x="1465968" y="1912564"/>
            <a:ext cx="4798129" cy="3583831"/>
            <a:chOff x="1226061" y="1733372"/>
            <a:chExt cx="5277942" cy="3942214"/>
          </a:xfrm>
        </p:grpSpPr>
        <p:sp>
          <p:nvSpPr>
            <p:cNvPr id="32" name="Rectángulo redondeado 31"/>
            <p:cNvSpPr/>
            <p:nvPr/>
          </p:nvSpPr>
          <p:spPr>
            <a:xfrm>
              <a:off x="1226061" y="1733372"/>
              <a:ext cx="5277942" cy="3942214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  <a:effectLst>
              <a:outerShdw blurRad="254000" dist="38100" dir="2700000" sx="102000" sy="102000" algn="tl" rotWithShape="0">
                <a:schemeClr val="tx1">
                  <a:lumMod val="75000"/>
                  <a:lumOff val="25000"/>
                  <a:alpha val="1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TextBox 39">
              <a:extLst>
                <a:ext uri="{FF2B5EF4-FFF2-40B4-BE49-F238E27FC236}">
                  <a16:creationId xmlns:a16="http://schemas.microsoft.com/office/drawing/2014/main" id="{6E2FDD36-F945-4004-8889-E08702B7AFD3}"/>
                </a:ext>
              </a:extLst>
            </p:cNvPr>
            <p:cNvSpPr txBox="1"/>
            <p:nvPr/>
          </p:nvSpPr>
          <p:spPr>
            <a:xfrm rot="16200000">
              <a:off x="873514" y="3461408"/>
              <a:ext cx="1794682" cy="4062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levance</a:t>
              </a:r>
            </a:p>
          </p:txBody>
        </p:sp>
        <p:sp>
          <p:nvSpPr>
            <p:cNvPr id="8" name="TextBox 40">
              <a:extLst>
                <a:ext uri="{FF2B5EF4-FFF2-40B4-BE49-F238E27FC236}">
                  <a16:creationId xmlns:a16="http://schemas.microsoft.com/office/drawing/2014/main" id="{F6E52A26-7427-4CA5-8A1A-D6DBC0EA4925}"/>
                </a:ext>
              </a:extLst>
            </p:cNvPr>
            <p:cNvSpPr txBox="1"/>
            <p:nvPr/>
          </p:nvSpPr>
          <p:spPr>
            <a:xfrm>
              <a:off x="2902426" y="5120798"/>
              <a:ext cx="2206683" cy="4062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niqueness</a:t>
              </a:r>
            </a:p>
          </p:txBody>
        </p:sp>
        <p:sp>
          <p:nvSpPr>
            <p:cNvPr id="9" name="Rectangle 41">
              <a:extLst>
                <a:ext uri="{FF2B5EF4-FFF2-40B4-BE49-F238E27FC236}">
                  <a16:creationId xmlns:a16="http://schemas.microsoft.com/office/drawing/2014/main" id="{002BBC94-FF70-42D5-8960-A41686FC37E0}"/>
                </a:ext>
              </a:extLst>
            </p:cNvPr>
            <p:cNvSpPr/>
            <p:nvPr/>
          </p:nvSpPr>
          <p:spPr>
            <a:xfrm>
              <a:off x="2457387" y="2973252"/>
              <a:ext cx="3457123" cy="1666461"/>
            </a:xfrm>
            <a:prstGeom prst="rect">
              <a:avLst/>
            </a:prstGeom>
            <a:noFill/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457200" marR="0" lvl="0" indent="-4572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E82101"/>
                </a:buClr>
                <a:buSzTx/>
                <a:buFont typeface="Wingdings" charset="2"/>
                <a:buChar char="ü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ffordability</a:t>
              </a:r>
            </a:p>
            <a:p>
              <a:pPr marL="457200" marR="0" lvl="0" indent="-4572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E82101"/>
                </a:buClr>
                <a:buSzTx/>
                <a:buFont typeface="Wingdings" charset="2"/>
                <a:buChar char="ü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mart shopper</a:t>
              </a:r>
            </a:p>
            <a:p>
              <a:pPr marL="457200" marR="0" lvl="0" indent="-4572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E82101"/>
                </a:buClr>
                <a:buSzTx/>
                <a:buFont typeface="Wingdings" charset="2"/>
                <a:buChar char="ü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est consumption experience</a:t>
              </a:r>
            </a:p>
            <a:p>
              <a:pPr marL="457200" marR="0" lvl="0" indent="-4572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E82101"/>
                </a:buClr>
                <a:buSzTx/>
                <a:buFont typeface="Wingdings" charset="2"/>
                <a:buChar char="ü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etter for the environment</a:t>
              </a:r>
            </a:p>
            <a:p>
              <a:pPr marL="457200" marR="0" lvl="0" indent="-4572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>
                  <a:srgbClr val="E82101"/>
                </a:buClr>
                <a:buSzTx/>
                <a:buFont typeface="Wingdings" charset="2"/>
                <a:buChar char="ü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“Iconic” experience</a:t>
              </a:r>
            </a:p>
          </p:txBody>
        </p:sp>
        <p:sp>
          <p:nvSpPr>
            <p:cNvPr id="13" name="TextBox 88">
              <a:extLst>
                <a:ext uri="{FF2B5EF4-FFF2-40B4-BE49-F238E27FC236}">
                  <a16:creationId xmlns:a16="http://schemas.microsoft.com/office/drawing/2014/main" id="{5CA62F74-96E1-4EB6-8DEA-569A81ED3155}"/>
                </a:ext>
              </a:extLst>
            </p:cNvPr>
            <p:cNvSpPr txBox="1"/>
            <p:nvPr/>
          </p:nvSpPr>
          <p:spPr>
            <a:xfrm>
              <a:off x="2387891" y="2235845"/>
              <a:ext cx="338957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E8210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turnables</a:t>
              </a: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E8210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’ EDGE</a:t>
              </a:r>
            </a:p>
          </p:txBody>
        </p:sp>
        <p:cxnSp>
          <p:nvCxnSpPr>
            <p:cNvPr id="21" name="Conector recto de flecha 20"/>
            <p:cNvCxnSpPr/>
            <p:nvPr/>
          </p:nvCxnSpPr>
          <p:spPr>
            <a:xfrm flipV="1">
              <a:off x="2116625" y="2326695"/>
              <a:ext cx="0" cy="2649764"/>
            </a:xfrm>
            <a:prstGeom prst="straightConnector1">
              <a:avLst/>
            </a:prstGeom>
            <a:ln w="28575">
              <a:solidFill>
                <a:srgbClr val="E82101"/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ector recto de flecha 22"/>
            <p:cNvCxnSpPr/>
            <p:nvPr/>
          </p:nvCxnSpPr>
          <p:spPr>
            <a:xfrm>
              <a:off x="2116625" y="4976459"/>
              <a:ext cx="3797884" cy="0"/>
            </a:xfrm>
            <a:prstGeom prst="straightConnector1">
              <a:avLst/>
            </a:prstGeom>
            <a:ln w="28575">
              <a:solidFill>
                <a:srgbClr val="E82101"/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1" name="Imagen 30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85150" y="2043953"/>
              <a:ext cx="353487" cy="369129"/>
            </a:xfrm>
            <a:prstGeom prst="rect">
              <a:avLst/>
            </a:prstGeom>
          </p:spPr>
        </p:pic>
      </p:grpSp>
      <p:cxnSp>
        <p:nvCxnSpPr>
          <p:cNvPr id="22" name="Conector recto 21"/>
          <p:cNvCxnSpPr/>
          <p:nvPr/>
        </p:nvCxnSpPr>
        <p:spPr>
          <a:xfrm>
            <a:off x="2831349" y="5890935"/>
            <a:ext cx="0" cy="892444"/>
          </a:xfrm>
          <a:prstGeom prst="line">
            <a:avLst/>
          </a:prstGeom>
          <a:ln w="25400">
            <a:solidFill>
              <a:srgbClr val="E8210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4" descr="Image result for remember image">
            <a:extLst>
              <a:ext uri="{FF2B5EF4-FFF2-40B4-BE49-F238E27FC236}">
                <a16:creationId xmlns:a16="http://schemas.microsoft.com/office/drawing/2014/main" id="{14CBAE57-DC3D-4B48-B928-E4ED8D9F722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6647" b="91239" l="15417" r="76250">
                        <a14:foregroundMark x1="27292" y1="8761" x2="33750" y2="8761"/>
                        <a14:foregroundMark x1="76250" y1="21752" x2="74792" y2="37160"/>
                        <a14:foregroundMark x1="67292" y1="89728" x2="63333" y2="89124"/>
                        <a14:foregroundMark x1="17917" y1="76435" x2="20208" y2="65257"/>
                        <a14:foregroundMark x1="20208" y1="65257" x2="20208" y2="62840"/>
                        <a14:foregroundMark x1="15417" y1="78852" x2="16250" y2="75831"/>
                        <a14:foregroundMark x1="71042" y1="91239" x2="72292" y2="66465"/>
                        <a14:foregroundMark x1="26458" y1="6647" x2="29167" y2="785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2549" r="19510" b="2858"/>
          <a:stretch/>
        </p:blipFill>
        <p:spPr bwMode="auto">
          <a:xfrm>
            <a:off x="1618788" y="5861947"/>
            <a:ext cx="903389" cy="8907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1702602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lipse 3"/>
          <p:cNvSpPr/>
          <p:nvPr/>
        </p:nvSpPr>
        <p:spPr>
          <a:xfrm>
            <a:off x="9124868" y="2427204"/>
            <a:ext cx="2176143" cy="217614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300" y="405873"/>
            <a:ext cx="778603" cy="540442"/>
          </a:xfrm>
          <a:prstGeom prst="rect">
            <a:avLst/>
          </a:prstGeom>
        </p:spPr>
      </p:pic>
      <p:sp>
        <p:nvSpPr>
          <p:cNvPr id="6" name="CuadroTexto 53">
            <a:extLst>
              <a:ext uri="{FF2B5EF4-FFF2-40B4-BE49-F238E27FC236}">
                <a16:creationId xmlns:a16="http://schemas.microsoft.com/office/drawing/2014/main" id="{1A833673-8EE0-4E78-AEDE-3DB94EFB5E0A}"/>
              </a:ext>
            </a:extLst>
          </p:cNvPr>
          <p:cNvSpPr txBox="1"/>
          <p:nvPr/>
        </p:nvSpPr>
        <p:spPr>
          <a:xfrm>
            <a:off x="1226061" y="474258"/>
            <a:ext cx="989267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ributing in all relevant dimensions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srgbClr val="E8210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CuadroTexto 6"/>
          <p:cNvSpPr txBox="1"/>
          <p:nvPr/>
        </p:nvSpPr>
        <p:spPr>
          <a:xfrm>
            <a:off x="1230157" y="942365"/>
            <a:ext cx="95763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 our 3 A’s model</a:t>
            </a:r>
            <a:endParaRPr kumimoji="0" lang="es-MX" sz="2400" b="1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0967" y="2989622"/>
            <a:ext cx="1483946" cy="1161349"/>
          </a:xfrm>
          <a:prstGeom prst="rect">
            <a:avLst/>
          </a:prstGeom>
        </p:spPr>
      </p:pic>
      <p:sp>
        <p:nvSpPr>
          <p:cNvPr id="9" name="Rectángulo 8"/>
          <p:cNvSpPr/>
          <p:nvPr/>
        </p:nvSpPr>
        <p:spPr>
          <a:xfrm>
            <a:off x="9565968" y="1814523"/>
            <a:ext cx="129394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ffinity</a:t>
            </a:r>
          </a:p>
        </p:txBody>
      </p:sp>
      <p:sp>
        <p:nvSpPr>
          <p:cNvPr id="11" name="CuadroTexto 10"/>
          <p:cNvSpPr txBox="1"/>
          <p:nvPr/>
        </p:nvSpPr>
        <p:spPr>
          <a:xfrm>
            <a:off x="9050280" y="4786245"/>
            <a:ext cx="232531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mart shopp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vironmental car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equency enabler</a:t>
            </a:r>
          </a:p>
        </p:txBody>
      </p:sp>
      <p:sp>
        <p:nvSpPr>
          <p:cNvPr id="12" name="Elipse 11"/>
          <p:cNvSpPr/>
          <p:nvPr/>
        </p:nvSpPr>
        <p:spPr>
          <a:xfrm>
            <a:off x="4956481" y="2439013"/>
            <a:ext cx="2176143" cy="217614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" name="Imagen 1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6765" y="2862071"/>
            <a:ext cx="1795574" cy="1405232"/>
          </a:xfrm>
          <a:prstGeom prst="rect">
            <a:avLst/>
          </a:prstGeom>
        </p:spPr>
      </p:pic>
      <p:sp>
        <p:nvSpPr>
          <p:cNvPr id="14" name="Rectángulo 13"/>
          <p:cNvSpPr/>
          <p:nvPr/>
        </p:nvSpPr>
        <p:spPr>
          <a:xfrm>
            <a:off x="5012891" y="1826332"/>
            <a:ext cx="2063322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ffordability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E8210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CuadroTexto 15"/>
          <p:cNvSpPr txBox="1"/>
          <p:nvPr/>
        </p:nvSpPr>
        <p:spPr>
          <a:xfrm>
            <a:off x="4862081" y="4798054"/>
            <a:ext cx="236494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petitive pric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st value equation</a:t>
            </a:r>
          </a:p>
        </p:txBody>
      </p:sp>
      <p:sp>
        <p:nvSpPr>
          <p:cNvPr id="17" name="Elipse 16"/>
          <p:cNvSpPr/>
          <p:nvPr/>
        </p:nvSpPr>
        <p:spPr>
          <a:xfrm>
            <a:off x="737373" y="2489049"/>
            <a:ext cx="2176143" cy="217614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8" name="Imagen 1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3937" y="2721013"/>
            <a:ext cx="503014" cy="1700331"/>
          </a:xfrm>
          <a:prstGeom prst="rect">
            <a:avLst/>
          </a:prstGeom>
        </p:spPr>
      </p:pic>
      <p:sp>
        <p:nvSpPr>
          <p:cNvPr id="19" name="Rectángulo 18"/>
          <p:cNvSpPr/>
          <p:nvPr/>
        </p:nvSpPr>
        <p:spPr>
          <a:xfrm>
            <a:off x="903943" y="1876368"/>
            <a:ext cx="184300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vailability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E8210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CuadroTexto 19"/>
          <p:cNvSpPr txBox="1"/>
          <p:nvPr/>
        </p:nvSpPr>
        <p:spPr>
          <a:xfrm>
            <a:off x="612063" y="4848090"/>
            <a:ext cx="242676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50000"/>
                  <a:lumOff val="50000"/>
                </a:schemeClr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ld and ready to enjoy (drinking experience)</a:t>
            </a:r>
          </a:p>
        </p:txBody>
      </p:sp>
      <p:sp>
        <p:nvSpPr>
          <p:cNvPr id="21" name="Rectángulo 20"/>
          <p:cNvSpPr/>
          <p:nvPr/>
        </p:nvSpPr>
        <p:spPr>
          <a:xfrm>
            <a:off x="4653192" y="6120068"/>
            <a:ext cx="2834815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ability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!</a:t>
            </a:r>
          </a:p>
        </p:txBody>
      </p:sp>
      <p:cxnSp>
        <p:nvCxnSpPr>
          <p:cNvPr id="23" name="Conector recto 22"/>
          <p:cNvCxnSpPr/>
          <p:nvPr/>
        </p:nvCxnSpPr>
        <p:spPr>
          <a:xfrm>
            <a:off x="3936275" y="2200016"/>
            <a:ext cx="0" cy="3018074"/>
          </a:xfrm>
          <a:prstGeom prst="line">
            <a:avLst/>
          </a:prstGeom>
          <a:ln w="25400">
            <a:solidFill>
              <a:schemeClr val="bg1"/>
            </a:solidFill>
            <a:prstDash val="sysDot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ector recto 23"/>
          <p:cNvCxnSpPr/>
          <p:nvPr/>
        </p:nvCxnSpPr>
        <p:spPr>
          <a:xfrm>
            <a:off x="8098972" y="2200016"/>
            <a:ext cx="0" cy="3018074"/>
          </a:xfrm>
          <a:prstGeom prst="line">
            <a:avLst/>
          </a:prstGeom>
          <a:ln w="25400">
            <a:solidFill>
              <a:schemeClr val="bg1"/>
            </a:solidFill>
            <a:prstDash val="sysDot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Flecha a la derecha con bandas 32"/>
          <p:cNvSpPr/>
          <p:nvPr/>
        </p:nvSpPr>
        <p:spPr>
          <a:xfrm rot="16200000">
            <a:off x="5754384" y="5532177"/>
            <a:ext cx="568114" cy="567875"/>
          </a:xfrm>
          <a:prstGeom prst="stripedRightArrow">
            <a:avLst>
              <a:gd name="adj1" fmla="val 50000"/>
              <a:gd name="adj2" fmla="val 7029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Flecha a la derecha con bandas 33"/>
          <p:cNvSpPr/>
          <p:nvPr/>
        </p:nvSpPr>
        <p:spPr>
          <a:xfrm rot="18900000">
            <a:off x="7643979" y="5690471"/>
            <a:ext cx="939032" cy="567875"/>
          </a:xfrm>
          <a:prstGeom prst="stripedRightArrow">
            <a:avLst>
              <a:gd name="adj1" fmla="val 50000"/>
              <a:gd name="adj2" fmla="val 7029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Flecha a la derecha con bandas 34"/>
          <p:cNvSpPr/>
          <p:nvPr/>
        </p:nvSpPr>
        <p:spPr>
          <a:xfrm rot="13500000">
            <a:off x="3460020" y="5690471"/>
            <a:ext cx="939032" cy="567875"/>
          </a:xfrm>
          <a:prstGeom prst="stripedRightArrow">
            <a:avLst>
              <a:gd name="adj1" fmla="val 50000"/>
              <a:gd name="adj2" fmla="val 7029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4169551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Imagen 2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300" y="405873"/>
            <a:ext cx="778603" cy="540442"/>
          </a:xfrm>
          <a:prstGeom prst="rect">
            <a:avLst/>
          </a:prstGeom>
        </p:spPr>
      </p:pic>
      <p:sp>
        <p:nvSpPr>
          <p:cNvPr id="31" name="CuadroTexto 53">
            <a:extLst>
              <a:ext uri="{FF2B5EF4-FFF2-40B4-BE49-F238E27FC236}">
                <a16:creationId xmlns:a16="http://schemas.microsoft.com/office/drawing/2014/main" id="{1A833673-8EE0-4E78-AEDE-3DB94EFB5E0A}"/>
              </a:ext>
            </a:extLst>
          </p:cNvPr>
          <p:cNvSpPr txBox="1"/>
          <p:nvPr/>
        </p:nvSpPr>
        <p:spPr>
          <a:xfrm>
            <a:off x="1226061" y="474258"/>
            <a:ext cx="10365317" cy="5875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veraging </a:t>
            </a:r>
            <a:r>
              <a:rPr kumimoji="0" lang="en-US" sz="4400" b="1" i="0" u="none" strike="noStrike" kern="1200" cap="none" spc="0" normalizeH="0" baseline="0" noProof="0" dirty="0" err="1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ability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srgbClr val="E8210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CuadroTexto 31"/>
          <p:cNvSpPr txBox="1"/>
          <p:nvPr/>
        </p:nvSpPr>
        <p:spPr>
          <a:xfrm>
            <a:off x="7114239" y="470855"/>
            <a:ext cx="403120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 a Subscription Model</a:t>
            </a:r>
            <a:endParaRPr kumimoji="0" lang="es-MX" sz="2800" b="1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Rectángulo 54"/>
          <p:cNvSpPr/>
          <p:nvPr/>
        </p:nvSpPr>
        <p:spPr>
          <a:xfrm>
            <a:off x="11628273" y="5327657"/>
            <a:ext cx="60640" cy="925011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CuadroTexto 55"/>
          <p:cNvSpPr txBox="1"/>
          <p:nvPr/>
        </p:nvSpPr>
        <p:spPr>
          <a:xfrm>
            <a:off x="8782970" y="5337921"/>
            <a:ext cx="26569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abl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bottle as the enabler or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“access key”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ur portfolio.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2" name="Agrupar 61"/>
          <p:cNvGrpSpPr/>
          <p:nvPr/>
        </p:nvGrpSpPr>
        <p:grpSpPr>
          <a:xfrm>
            <a:off x="4706399" y="1699836"/>
            <a:ext cx="6607601" cy="4357460"/>
            <a:chOff x="2932797" y="1732617"/>
            <a:chExt cx="7268362" cy="4793206"/>
          </a:xfrm>
        </p:grpSpPr>
        <p:sp>
          <p:nvSpPr>
            <p:cNvPr id="61" name="Elipse 60"/>
            <p:cNvSpPr/>
            <p:nvPr/>
          </p:nvSpPr>
          <p:spPr>
            <a:xfrm>
              <a:off x="3910444" y="2349850"/>
              <a:ext cx="4326600" cy="3575703"/>
            </a:xfrm>
            <a:prstGeom prst="ellipse">
              <a:avLst/>
            </a:prstGeom>
            <a:noFill/>
            <a:ln w="25400">
              <a:solidFill>
                <a:srgbClr val="E8210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TextBox 31">
              <a:extLst>
                <a:ext uri="{FF2B5EF4-FFF2-40B4-BE49-F238E27FC236}">
                  <a16:creationId xmlns:a16="http://schemas.microsoft.com/office/drawing/2014/main" id="{669530E5-1C7A-4F57-BCC7-BD32A034A3B6}"/>
                </a:ext>
              </a:extLst>
            </p:cNvPr>
            <p:cNvSpPr txBox="1"/>
            <p:nvPr/>
          </p:nvSpPr>
          <p:spPr>
            <a:xfrm>
              <a:off x="5009719" y="3846398"/>
              <a:ext cx="2208073" cy="9140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E8210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curring revenue flow</a:t>
              </a: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42" name="Imagen 41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78" r="16578"/>
            <a:stretch/>
          </p:blipFill>
          <p:spPr>
            <a:xfrm>
              <a:off x="3213897" y="3416427"/>
              <a:ext cx="1440000" cy="1440000"/>
            </a:xfrm>
            <a:prstGeom prst="ellipse">
              <a:avLst/>
            </a:prstGeom>
            <a:ln w="63500">
              <a:solidFill>
                <a:schemeClr val="bg1"/>
              </a:solidFill>
            </a:ln>
            <a:effectLst>
              <a:outerShdw blurRad="254000" dist="38100" dir="2700000" sx="105000" sy="105000" algn="tl" rotWithShape="0">
                <a:prstClr val="black">
                  <a:alpha val="20000"/>
                </a:prstClr>
              </a:outerShdw>
            </a:effectLst>
          </p:spPr>
        </p:pic>
        <p:sp>
          <p:nvSpPr>
            <p:cNvPr id="43" name="CuadroTexto 42"/>
            <p:cNvSpPr txBox="1"/>
            <p:nvPr/>
          </p:nvSpPr>
          <p:spPr>
            <a:xfrm>
              <a:off x="2932797" y="5042630"/>
              <a:ext cx="124149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600" b="1" i="0" u="none" strike="noStrike" kern="1200" cap="none" spc="0" normalizeH="0" baseline="0" noProof="0">
                  <a:ln>
                    <a:noFill/>
                  </a:ln>
                  <a:solidFill>
                    <a:srgbClr val="E8210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onsumers</a:t>
              </a:r>
              <a:endPara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Elipse 43"/>
            <p:cNvSpPr/>
            <p:nvPr/>
          </p:nvSpPr>
          <p:spPr>
            <a:xfrm>
              <a:off x="5355523" y="5085823"/>
              <a:ext cx="1440000" cy="144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254000" dist="38100" dir="2700000" sx="105000" sy="105000" algn="tl" rotWithShape="0">
                <a:schemeClr val="tx1">
                  <a:lumMod val="75000"/>
                  <a:lumOff val="25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1" name="Agrupar 50"/>
            <p:cNvGrpSpPr/>
            <p:nvPr/>
          </p:nvGrpSpPr>
          <p:grpSpPr>
            <a:xfrm>
              <a:off x="7497149" y="3416427"/>
              <a:ext cx="1440000" cy="1440000"/>
              <a:chOff x="5261366" y="3416427"/>
              <a:chExt cx="1440000" cy="1440000"/>
            </a:xfrm>
          </p:grpSpPr>
          <p:sp>
            <p:nvSpPr>
              <p:cNvPr id="48" name="Elipse 47"/>
              <p:cNvSpPr/>
              <p:nvPr/>
            </p:nvSpPr>
            <p:spPr>
              <a:xfrm>
                <a:off x="5261366" y="3416427"/>
                <a:ext cx="1440000" cy="144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254000" dist="38100" dir="2700000" sx="105000" sy="105000" algn="tl" rotWithShape="0">
                  <a:schemeClr val="tx1">
                    <a:lumMod val="75000"/>
                    <a:lumOff val="25000"/>
                    <a:alpha val="40000"/>
                  </a:scheme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s-ES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pic>
            <p:nvPicPr>
              <p:cNvPr id="50" name="Picture 16">
                <a:extLst>
                  <a:ext uri="{FF2B5EF4-FFF2-40B4-BE49-F238E27FC236}">
                    <a16:creationId xmlns:a16="http://schemas.microsoft.com/office/drawing/2014/main" id="{9CDC2DCB-F924-45DD-BC5E-83D38CF018C8}"/>
                  </a:ext>
                </a:extLst>
              </p:cNvPr>
              <p:cNvPicPr>
                <a:picLocks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372966" y="3830427"/>
                <a:ext cx="1216800" cy="612000"/>
              </a:xfrm>
              <a:prstGeom prst="rect">
                <a:avLst/>
              </a:prstGeom>
            </p:spPr>
          </p:pic>
        </p:grpSp>
        <p:sp>
          <p:nvSpPr>
            <p:cNvPr id="53" name="Elipse 52"/>
            <p:cNvSpPr/>
            <p:nvPr/>
          </p:nvSpPr>
          <p:spPr>
            <a:xfrm>
              <a:off x="5355523" y="1732617"/>
              <a:ext cx="1440000" cy="144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254000" dist="38100" dir="2700000" sx="105000" sy="105000" algn="tl" rotWithShape="0">
                <a:schemeClr val="tx1">
                  <a:lumMod val="75000"/>
                  <a:lumOff val="25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8" name="Agrupar 57"/>
            <p:cNvGrpSpPr/>
            <p:nvPr/>
          </p:nvGrpSpPr>
          <p:grpSpPr>
            <a:xfrm>
              <a:off x="9051854" y="3669574"/>
              <a:ext cx="1149305" cy="989096"/>
              <a:chOff x="7193301" y="3639793"/>
              <a:chExt cx="1149305" cy="989096"/>
            </a:xfrm>
          </p:grpSpPr>
          <p:sp>
            <p:nvSpPr>
              <p:cNvPr id="6" name="TextBox 14">
                <a:extLst>
                  <a:ext uri="{FF2B5EF4-FFF2-40B4-BE49-F238E27FC236}">
                    <a16:creationId xmlns:a16="http://schemas.microsoft.com/office/drawing/2014/main" id="{05AB6210-175E-4571-B20D-575557BC8AD9}"/>
                  </a:ext>
                </a:extLst>
              </p:cNvPr>
              <p:cNvSpPr txBox="1"/>
              <p:nvPr/>
            </p:nvSpPr>
            <p:spPr>
              <a:xfrm>
                <a:off x="7224001" y="3639793"/>
                <a:ext cx="1069620" cy="60939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Customers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+</a:t>
                </a:r>
              </a:p>
            </p:txBody>
          </p:sp>
          <p:pic>
            <p:nvPicPr>
              <p:cNvPr id="57" name="Imagen 56"/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193301" y="4267580"/>
                <a:ext cx="1149305" cy="361309"/>
              </a:xfrm>
              <a:prstGeom prst="rect">
                <a:avLst/>
              </a:prstGeom>
            </p:spPr>
          </p:pic>
        </p:grpSp>
        <p:pic>
          <p:nvPicPr>
            <p:cNvPr id="59" name="Imagen 58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90957" y="3441123"/>
              <a:ext cx="445595" cy="348727"/>
            </a:xfrm>
            <a:prstGeom prst="rect">
              <a:avLst/>
            </a:prstGeom>
          </p:spPr>
        </p:pic>
      </p:grpSp>
      <p:pic>
        <p:nvPicPr>
          <p:cNvPr id="73" name="Imagen 7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2103054" y="4004971"/>
            <a:ext cx="4813179" cy="185995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5FE18B0A-F828-4D72-9414-DF60F9E874F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207843" y="1723021"/>
            <a:ext cx="402946" cy="1174387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18AC1235-B535-4FC9-A659-8E1D716940A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640192" y="2078465"/>
            <a:ext cx="211827" cy="741754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CEA9ED15-4FDA-4C47-84FA-8B755E6E009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84470"/>
          <a:stretch/>
        </p:blipFill>
        <p:spPr>
          <a:xfrm>
            <a:off x="7114239" y="4798179"/>
            <a:ext cx="395621" cy="1170059"/>
          </a:xfrm>
          <a:prstGeom prst="rect">
            <a:avLst/>
          </a:prstGeom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3CF3433E-2528-4D4B-9D13-37F595B5910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574776" y="5173694"/>
            <a:ext cx="222794" cy="732986"/>
          </a:xfrm>
          <a:prstGeom prst="rect">
            <a:avLst/>
          </a:prstGeom>
        </p:spPr>
      </p:pic>
      <p:sp>
        <p:nvSpPr>
          <p:cNvPr id="37" name="Rectángulo redondeado 81">
            <a:extLst>
              <a:ext uri="{FF2B5EF4-FFF2-40B4-BE49-F238E27FC236}">
                <a16:creationId xmlns:a16="http://schemas.microsoft.com/office/drawing/2014/main" id="{023FBA00-6D08-40F2-98F5-72A72E2A8E74}"/>
              </a:ext>
            </a:extLst>
          </p:cNvPr>
          <p:cNvSpPr/>
          <p:nvPr/>
        </p:nvSpPr>
        <p:spPr>
          <a:xfrm>
            <a:off x="752040" y="1266264"/>
            <a:ext cx="3073674" cy="621203"/>
          </a:xfrm>
          <a:prstGeom prst="roundRect">
            <a:avLst>
              <a:gd name="adj" fmla="val 23733"/>
            </a:avLst>
          </a:prstGeom>
          <a:solidFill>
            <a:schemeClr val="bg1"/>
          </a:solidFill>
          <a:ln>
            <a:noFill/>
          </a:ln>
          <a:effectLst>
            <a:outerShdw blurRad="254000" dist="38100" dir="2700000" sx="102000" sy="102000" algn="tl" rotWithShape="0">
              <a:schemeClr val="tx1">
                <a:lumMod val="75000"/>
                <a:lumOff val="25000"/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Rectángulo redondeado 64">
            <a:extLst>
              <a:ext uri="{FF2B5EF4-FFF2-40B4-BE49-F238E27FC236}">
                <a16:creationId xmlns:a16="http://schemas.microsoft.com/office/drawing/2014/main" id="{014A7D4B-237B-41B2-B606-43CCBADB6F7B}"/>
              </a:ext>
            </a:extLst>
          </p:cNvPr>
          <p:cNvSpPr/>
          <p:nvPr/>
        </p:nvSpPr>
        <p:spPr>
          <a:xfrm>
            <a:off x="752040" y="2010591"/>
            <a:ext cx="3073674" cy="4592530"/>
          </a:xfrm>
          <a:prstGeom prst="roundRect">
            <a:avLst>
              <a:gd name="adj" fmla="val 6633"/>
            </a:avLst>
          </a:prstGeom>
          <a:solidFill>
            <a:schemeClr val="bg1"/>
          </a:solidFill>
          <a:ln>
            <a:noFill/>
          </a:ln>
          <a:effectLst>
            <a:outerShdw blurRad="254000" dist="38100" dir="2700000" sx="102000" sy="102000" algn="tl" rotWithShape="0">
              <a:schemeClr val="tx1">
                <a:lumMod val="75000"/>
                <a:lumOff val="25000"/>
                <a:alpha val="1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CuadroTexto 62">
            <a:extLst>
              <a:ext uri="{FF2B5EF4-FFF2-40B4-BE49-F238E27FC236}">
                <a16:creationId xmlns:a16="http://schemas.microsoft.com/office/drawing/2014/main" id="{DD808B52-0EAC-45CB-B746-7C327EAAAB4D}"/>
              </a:ext>
            </a:extLst>
          </p:cNvPr>
          <p:cNvSpPr txBox="1"/>
          <p:nvPr/>
        </p:nvSpPr>
        <p:spPr>
          <a:xfrm>
            <a:off x="853388" y="1367563"/>
            <a:ext cx="28709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t’s a Subscription Economy!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E8210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0" name="Picture 2" descr="Image result for netflix">
            <a:extLst>
              <a:ext uri="{FF2B5EF4-FFF2-40B4-BE49-F238E27FC236}">
                <a16:creationId xmlns:a16="http://schemas.microsoft.com/office/drawing/2014/main" id="{6205F6EB-BE4A-4DAB-A114-427D6DD992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5032" y="2429103"/>
            <a:ext cx="1004372" cy="466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3">
            <a:extLst>
              <a:ext uri="{FF2B5EF4-FFF2-40B4-BE49-F238E27FC236}">
                <a16:creationId xmlns:a16="http://schemas.microsoft.com/office/drawing/2014/main" id="{0DEACE35-3221-4C59-BBBA-DC5A2157A13B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336069" y="2518585"/>
            <a:ext cx="1202979" cy="353350"/>
          </a:xfrm>
          <a:prstGeom prst="rect">
            <a:avLst/>
          </a:prstGeom>
        </p:spPr>
      </p:pic>
      <p:pic>
        <p:nvPicPr>
          <p:cNvPr id="45" name="Picture 5">
            <a:extLst>
              <a:ext uri="{FF2B5EF4-FFF2-40B4-BE49-F238E27FC236}">
                <a16:creationId xmlns:a16="http://schemas.microsoft.com/office/drawing/2014/main" id="{7CCABC27-77BF-4E60-AFBB-E538A79C051A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258634" y="3175006"/>
            <a:ext cx="1998589" cy="499647"/>
          </a:xfrm>
          <a:prstGeom prst="rect">
            <a:avLst/>
          </a:prstGeom>
        </p:spPr>
      </p:pic>
      <p:pic>
        <p:nvPicPr>
          <p:cNvPr id="46" name="Picture 6">
            <a:extLst>
              <a:ext uri="{FF2B5EF4-FFF2-40B4-BE49-F238E27FC236}">
                <a16:creationId xmlns:a16="http://schemas.microsoft.com/office/drawing/2014/main" id="{A46D0B30-CA10-489C-B644-D3CF9F730ACA}"/>
              </a:ext>
            </a:extLst>
          </p:cNvPr>
          <p:cNvPicPr>
            <a:picLocks noChangeAspect="1"/>
          </p:cNvPicPr>
          <p:nvPr/>
        </p:nvPicPr>
        <p:blipFill rotWithShape="1">
          <a:blip r:embed="rId15"/>
          <a:srcRect l="6189" t="36017" r="6800" b="36819"/>
          <a:stretch/>
        </p:blipFill>
        <p:spPr>
          <a:xfrm>
            <a:off x="1045032" y="3977724"/>
            <a:ext cx="1147205" cy="358145"/>
          </a:xfrm>
          <a:prstGeom prst="rect">
            <a:avLst/>
          </a:prstGeom>
        </p:spPr>
      </p:pic>
      <p:pic>
        <p:nvPicPr>
          <p:cNvPr id="52" name="Picture 12" descr="Image result for carnivore club logo">
            <a:extLst>
              <a:ext uri="{FF2B5EF4-FFF2-40B4-BE49-F238E27FC236}">
                <a16:creationId xmlns:a16="http://schemas.microsoft.com/office/drawing/2014/main" id="{C1F07EA3-CBEA-4E61-82D0-983CB601C77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462" r="36028"/>
          <a:stretch/>
        </p:blipFill>
        <p:spPr bwMode="auto">
          <a:xfrm>
            <a:off x="2537230" y="3804663"/>
            <a:ext cx="943491" cy="5805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4" name="Conector recto 78">
            <a:extLst>
              <a:ext uri="{FF2B5EF4-FFF2-40B4-BE49-F238E27FC236}">
                <a16:creationId xmlns:a16="http://schemas.microsoft.com/office/drawing/2014/main" id="{30098E2B-436E-460C-B30B-3FFF26C3A5FA}"/>
              </a:ext>
            </a:extLst>
          </p:cNvPr>
          <p:cNvCxnSpPr/>
          <p:nvPr/>
        </p:nvCxnSpPr>
        <p:spPr>
          <a:xfrm>
            <a:off x="1073612" y="4737240"/>
            <a:ext cx="2430530" cy="0"/>
          </a:xfrm>
          <a:prstGeom prst="line">
            <a:avLst/>
          </a:prstGeom>
          <a:ln w="25400">
            <a:solidFill>
              <a:srgbClr val="E8210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" name="Imagen 82">
            <a:extLst>
              <a:ext uri="{FF2B5EF4-FFF2-40B4-BE49-F238E27FC236}">
                <a16:creationId xmlns:a16="http://schemas.microsoft.com/office/drawing/2014/main" id="{CFA86FCE-1840-4705-AAF1-57601867CD84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709089" y="5812051"/>
            <a:ext cx="1167241" cy="117023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003F7142-0007-467A-844E-996D8F020A6F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840198" y="4915871"/>
            <a:ext cx="2815873" cy="1272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106580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53">
            <a:extLst>
              <a:ext uri="{FF2B5EF4-FFF2-40B4-BE49-F238E27FC236}">
                <a16:creationId xmlns:a16="http://schemas.microsoft.com/office/drawing/2014/main" id="{1A833673-8EE0-4E78-AEDE-3DB94EFB5E0A}"/>
              </a:ext>
            </a:extLst>
          </p:cNvPr>
          <p:cNvSpPr txBox="1"/>
          <p:nvPr/>
        </p:nvSpPr>
        <p:spPr>
          <a:xfrm>
            <a:off x="1236694" y="304131"/>
            <a:ext cx="10267733" cy="6213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5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Returnability virtuous cycle…</a:t>
            </a:r>
          </a:p>
        </p:txBody>
      </p:sp>
      <p:pic>
        <p:nvPicPr>
          <p:cNvPr id="20" name="Imagen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541" y="147948"/>
            <a:ext cx="719328" cy="719328"/>
          </a:xfrm>
          <a:prstGeom prst="rect">
            <a:avLst/>
          </a:prstGeom>
        </p:spPr>
      </p:pic>
      <p:sp>
        <p:nvSpPr>
          <p:cNvPr id="6" name="Elipse 5"/>
          <p:cNvSpPr/>
          <p:nvPr/>
        </p:nvSpPr>
        <p:spPr>
          <a:xfrm>
            <a:off x="2505921" y="2045793"/>
            <a:ext cx="6733772" cy="3590611"/>
          </a:xfrm>
          <a:prstGeom prst="ellipse">
            <a:avLst/>
          </a:prstGeom>
          <a:noFill/>
          <a:ln w="254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riángulo 30"/>
          <p:cNvSpPr/>
          <p:nvPr/>
        </p:nvSpPr>
        <p:spPr>
          <a:xfrm rot="4391554">
            <a:off x="4246354" y="2063315"/>
            <a:ext cx="348315" cy="328577"/>
          </a:xfrm>
          <a:prstGeom prst="triangl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CuadroTexto 41"/>
          <p:cNvSpPr txBox="1"/>
          <p:nvPr/>
        </p:nvSpPr>
        <p:spPr>
          <a:xfrm>
            <a:off x="-7876" y="4170255"/>
            <a:ext cx="2148359" cy="9792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ilD</a:t>
            </a:r>
            <a:r>
              <a:rPr kumimoji="0" lang="es-MX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&amp; reinforce the </a:t>
            </a:r>
            <a:r>
              <a:rPr kumimoji="0" lang="es-MX" sz="1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able habit </a:t>
            </a:r>
            <a:r>
              <a:rPr kumimoji="0" lang="es-MX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rough fully integrated 360 Plans for all stakeholders</a:t>
            </a:r>
          </a:p>
        </p:txBody>
      </p:sp>
      <p:sp>
        <p:nvSpPr>
          <p:cNvPr id="43" name="Rectángulo 42"/>
          <p:cNvSpPr/>
          <p:nvPr/>
        </p:nvSpPr>
        <p:spPr>
          <a:xfrm>
            <a:off x="2148796" y="4147600"/>
            <a:ext cx="62991" cy="10245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CuadroTexto 43"/>
          <p:cNvSpPr txBox="1"/>
          <p:nvPr/>
        </p:nvSpPr>
        <p:spPr>
          <a:xfrm>
            <a:off x="9588237" y="4147600"/>
            <a:ext cx="2127003" cy="7290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e of the art </a:t>
            </a:r>
            <a:r>
              <a:rPr kumimoji="0" lang="es-MX" sz="1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ecution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pealing and call to action </a:t>
            </a:r>
            <a:r>
              <a:rPr kumimoji="0" lang="es-MX" sz="1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munication</a:t>
            </a:r>
            <a:endParaRPr kumimoji="0" lang="es-MX" sz="1400" b="0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5" name="Rectángulo 44"/>
          <p:cNvSpPr/>
          <p:nvPr/>
        </p:nvSpPr>
        <p:spPr>
          <a:xfrm>
            <a:off x="9522788" y="4095321"/>
            <a:ext cx="45719" cy="7813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CuadroTexto 45"/>
          <p:cNvSpPr txBox="1"/>
          <p:nvPr/>
        </p:nvSpPr>
        <p:spPr>
          <a:xfrm>
            <a:off x="6833408" y="1349790"/>
            <a:ext cx="3637620" cy="51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listic OBPPC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affordability + value)</a:t>
            </a:r>
          </a:p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iversal bottle</a:t>
            </a:r>
          </a:p>
        </p:txBody>
      </p:sp>
      <p:sp>
        <p:nvSpPr>
          <p:cNvPr id="47" name="Rectángulo 46"/>
          <p:cNvSpPr/>
          <p:nvPr/>
        </p:nvSpPr>
        <p:spPr>
          <a:xfrm>
            <a:off x="6736946" y="1299914"/>
            <a:ext cx="62991" cy="6998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Rectángulo redondeado 59"/>
          <p:cNvSpPr/>
          <p:nvPr/>
        </p:nvSpPr>
        <p:spPr>
          <a:xfrm>
            <a:off x="2328529" y="6154278"/>
            <a:ext cx="7259707" cy="426281"/>
          </a:xfrm>
          <a:prstGeom prst="roundRect">
            <a:avLst>
              <a:gd name="adj" fmla="val 23733"/>
            </a:avLst>
          </a:prstGeom>
          <a:solidFill>
            <a:schemeClr val="bg1"/>
          </a:solidFill>
          <a:ln>
            <a:noFill/>
          </a:ln>
          <a:effectLst>
            <a:outerShdw blurRad="127000" dist="38100" dir="2700000" sx="102000" sy="102000" algn="tl" rotWithShape="0">
              <a:schemeClr val="tx1">
                <a:lumMod val="75000"/>
                <a:lumOff val="2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1" name="CuadroTexto 60"/>
          <p:cNvSpPr txBox="1"/>
          <p:nvPr/>
        </p:nvSpPr>
        <p:spPr>
          <a:xfrm>
            <a:off x="3568767" y="6197858"/>
            <a:ext cx="51024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8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ablers, Processes, KPI´s &amp; Continuous investment</a:t>
            </a:r>
          </a:p>
        </p:txBody>
      </p:sp>
      <p:pic>
        <p:nvPicPr>
          <p:cNvPr id="37" name="Picture 13" descr="CAP">
            <a:extLst>
              <a:ext uri="{FF2B5EF4-FFF2-40B4-BE49-F238E27FC236}">
                <a16:creationId xmlns:a16="http://schemas.microsoft.com/office/drawing/2014/main" id="{64A82F37-A6FA-034E-9990-C3D2D688AA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clrChange>
              <a:clrFrom>
                <a:srgbClr val="FFFFE1"/>
              </a:clrFrom>
              <a:clrTo>
                <a:srgbClr val="FFFFE1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68586" y="2538848"/>
            <a:ext cx="2999376" cy="2729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CuadroTexto 37">
            <a:extLst>
              <a:ext uri="{FF2B5EF4-FFF2-40B4-BE49-F238E27FC236}">
                <a16:creationId xmlns:a16="http://schemas.microsoft.com/office/drawing/2014/main" id="{C004665B-40FB-004F-A4A7-0C03151DDB1E}"/>
              </a:ext>
            </a:extLst>
          </p:cNvPr>
          <p:cNvSpPr txBox="1"/>
          <p:nvPr/>
        </p:nvSpPr>
        <p:spPr>
          <a:xfrm>
            <a:off x="4766546" y="3262264"/>
            <a:ext cx="2136361" cy="962956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1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fitable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ts val="21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sumer Base</a:t>
            </a:r>
          </a:p>
          <a:p>
            <a:pPr marL="0" marR="0" lvl="0" indent="0" algn="ctr" defTabSz="914400" rtl="0" eaLnBrk="1" fontAlgn="auto" latinLnBrk="0" hangingPunct="1">
              <a:lnSpc>
                <a:spcPts val="21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owth</a:t>
            </a:r>
          </a:p>
        </p:txBody>
      </p:sp>
      <p:sp>
        <p:nvSpPr>
          <p:cNvPr id="39" name="Rectangle 171">
            <a:extLst>
              <a:ext uri="{FF2B5EF4-FFF2-40B4-BE49-F238E27FC236}">
                <a16:creationId xmlns:a16="http://schemas.microsoft.com/office/drawing/2014/main" id="{90C9A913-5849-0749-9C0D-41877641ECF7}"/>
              </a:ext>
            </a:extLst>
          </p:cNvPr>
          <p:cNvSpPr/>
          <p:nvPr/>
        </p:nvSpPr>
        <p:spPr>
          <a:xfrm>
            <a:off x="5419608" y="4616441"/>
            <a:ext cx="857406" cy="2127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92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1">
                <a:solidFill>
                  <a:srgbClr val="FFFFFF"/>
                </a:solidFill>
                <a:latin typeface="Gotham"/>
                <a:ea typeface="Gotham"/>
                <a:cs typeface="Gotham"/>
                <a:sym typeface="Gotham"/>
              </a:defRPr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/>
                <a:sym typeface="Gotham"/>
              </a:rPr>
              <a:t>Consumer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Gotham"/>
            </a:endParaRPr>
          </a:p>
        </p:txBody>
      </p:sp>
      <p:pic>
        <p:nvPicPr>
          <p:cNvPr id="50" name="Imagen 49">
            <a:extLst>
              <a:ext uri="{FF2B5EF4-FFF2-40B4-BE49-F238E27FC236}">
                <a16:creationId xmlns:a16="http://schemas.microsoft.com/office/drawing/2014/main" id="{640D0731-F5A0-B542-890D-3594BDD30054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674" b="100000" l="8780" r="9561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05006" y="4107574"/>
            <a:ext cx="461239" cy="537739"/>
          </a:xfrm>
          <a:prstGeom prst="rect">
            <a:avLst/>
          </a:prstGeom>
        </p:spPr>
      </p:pic>
      <p:sp>
        <p:nvSpPr>
          <p:cNvPr id="29" name="Triángulo 28">
            <a:extLst>
              <a:ext uri="{FF2B5EF4-FFF2-40B4-BE49-F238E27FC236}">
                <a16:creationId xmlns:a16="http://schemas.microsoft.com/office/drawing/2014/main" id="{13CBDC66-DE56-9642-A0EC-0C9AD84037BC}"/>
              </a:ext>
            </a:extLst>
          </p:cNvPr>
          <p:cNvSpPr/>
          <p:nvPr/>
        </p:nvSpPr>
        <p:spPr>
          <a:xfrm rot="7797355">
            <a:off x="8331788" y="2545089"/>
            <a:ext cx="348315" cy="328577"/>
          </a:xfrm>
          <a:prstGeom prst="triangl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Triángulo 33">
            <a:extLst>
              <a:ext uri="{FF2B5EF4-FFF2-40B4-BE49-F238E27FC236}">
                <a16:creationId xmlns:a16="http://schemas.microsoft.com/office/drawing/2014/main" id="{74FDC790-D344-584E-A567-E2AA1E80E586}"/>
              </a:ext>
            </a:extLst>
          </p:cNvPr>
          <p:cNvSpPr/>
          <p:nvPr/>
        </p:nvSpPr>
        <p:spPr>
          <a:xfrm rot="16200000">
            <a:off x="5706224" y="5473562"/>
            <a:ext cx="348315" cy="328577"/>
          </a:xfrm>
          <a:prstGeom prst="triangl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Elipse 29">
            <a:extLst>
              <a:ext uri="{FF2B5EF4-FFF2-40B4-BE49-F238E27FC236}">
                <a16:creationId xmlns:a16="http://schemas.microsoft.com/office/drawing/2014/main" id="{5BA8161C-2C4E-B243-871D-F3EB98C27945}"/>
              </a:ext>
            </a:extLst>
          </p:cNvPr>
          <p:cNvSpPr/>
          <p:nvPr/>
        </p:nvSpPr>
        <p:spPr>
          <a:xfrm>
            <a:off x="1897169" y="2785617"/>
            <a:ext cx="1446004" cy="144600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Rectángulo 31">
            <a:extLst>
              <a:ext uri="{FF2B5EF4-FFF2-40B4-BE49-F238E27FC236}">
                <a16:creationId xmlns:a16="http://schemas.microsoft.com/office/drawing/2014/main" id="{07F4D9FF-6B6A-0445-A730-86B86C907C0D}"/>
              </a:ext>
            </a:extLst>
          </p:cNvPr>
          <p:cNvSpPr/>
          <p:nvPr/>
        </p:nvSpPr>
        <p:spPr>
          <a:xfrm>
            <a:off x="1769770" y="3080246"/>
            <a:ext cx="169835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4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ll </a:t>
            </a:r>
            <a:r>
              <a:rPr kumimoji="0" lang="es-MX" sz="22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gagement</a:t>
            </a:r>
          </a:p>
        </p:txBody>
      </p:sp>
      <p:pic>
        <p:nvPicPr>
          <p:cNvPr id="33" name="Imagen 32">
            <a:extLst>
              <a:ext uri="{FF2B5EF4-FFF2-40B4-BE49-F238E27FC236}">
                <a16:creationId xmlns:a16="http://schemas.microsoft.com/office/drawing/2014/main" id="{833E85FC-375A-974D-955B-E18E8F34B4E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775856" flipH="1">
            <a:off x="1818389" y="2332038"/>
            <a:ext cx="667340" cy="653935"/>
          </a:xfrm>
          <a:prstGeom prst="rect">
            <a:avLst/>
          </a:prstGeom>
        </p:spPr>
      </p:pic>
      <p:sp>
        <p:nvSpPr>
          <p:cNvPr id="35" name="Elipse 34">
            <a:extLst>
              <a:ext uri="{FF2B5EF4-FFF2-40B4-BE49-F238E27FC236}">
                <a16:creationId xmlns:a16="http://schemas.microsoft.com/office/drawing/2014/main" id="{4820B99D-FC39-D443-BE31-21422D57191E}"/>
              </a:ext>
            </a:extLst>
          </p:cNvPr>
          <p:cNvSpPr/>
          <p:nvPr/>
        </p:nvSpPr>
        <p:spPr>
          <a:xfrm>
            <a:off x="5104137" y="900232"/>
            <a:ext cx="1446004" cy="144600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Rectángulo 35">
            <a:extLst>
              <a:ext uri="{FF2B5EF4-FFF2-40B4-BE49-F238E27FC236}">
                <a16:creationId xmlns:a16="http://schemas.microsoft.com/office/drawing/2014/main" id="{FEA2A596-045D-9A45-AF3F-E7185C49AC83}"/>
              </a:ext>
            </a:extLst>
          </p:cNvPr>
          <p:cNvSpPr/>
          <p:nvPr/>
        </p:nvSpPr>
        <p:spPr>
          <a:xfrm>
            <a:off x="5139047" y="1168072"/>
            <a:ext cx="1402232" cy="7121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4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nning</a:t>
            </a:r>
          </a:p>
          <a:p>
            <a:pPr marL="0" marR="0" lvl="0" indent="0" algn="ctr" defTabSz="914400" rtl="0" eaLnBrk="1" fontAlgn="auto" latinLnBrk="0" hangingPunct="1">
              <a:lnSpc>
                <a:spcPts val="24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rtfolio</a:t>
            </a:r>
            <a:endParaRPr kumimoji="0" lang="es-MX" sz="1800" b="1" i="0" u="none" strike="noStrike" kern="1200" cap="none" spc="0" normalizeH="0" baseline="0" noProof="0" dirty="0">
              <a:ln>
                <a:noFill/>
              </a:ln>
              <a:solidFill>
                <a:srgbClr val="E8210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0" name="Agrupar 40">
            <a:extLst>
              <a:ext uri="{FF2B5EF4-FFF2-40B4-BE49-F238E27FC236}">
                <a16:creationId xmlns:a16="http://schemas.microsoft.com/office/drawing/2014/main" id="{8951D95F-D435-8540-812C-49CF7E31BBBB}"/>
              </a:ext>
            </a:extLst>
          </p:cNvPr>
          <p:cNvGrpSpPr/>
          <p:nvPr/>
        </p:nvGrpSpPr>
        <p:grpSpPr>
          <a:xfrm>
            <a:off x="4737839" y="1753311"/>
            <a:ext cx="630350" cy="630350"/>
            <a:chOff x="6527415" y="1441542"/>
            <a:chExt cx="693385" cy="693385"/>
          </a:xfrm>
        </p:grpSpPr>
        <p:sp>
          <p:nvSpPr>
            <p:cNvPr id="41" name="Elipse 40">
              <a:extLst>
                <a:ext uri="{FF2B5EF4-FFF2-40B4-BE49-F238E27FC236}">
                  <a16:creationId xmlns:a16="http://schemas.microsoft.com/office/drawing/2014/main" id="{832B791F-25F0-CD46-86E3-8F772FA3CDB1}"/>
                </a:ext>
              </a:extLst>
            </p:cNvPr>
            <p:cNvSpPr/>
            <p:nvPr/>
          </p:nvSpPr>
          <p:spPr>
            <a:xfrm>
              <a:off x="6527415" y="1441542"/>
              <a:ext cx="693385" cy="69338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254000" dist="38100" dir="2700000" sx="105000" sy="105000" algn="tl" rotWithShape="0">
                <a:schemeClr val="tx1">
                  <a:lumMod val="75000"/>
                  <a:lumOff val="25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49" name="Imagen 48">
              <a:extLst>
                <a:ext uri="{FF2B5EF4-FFF2-40B4-BE49-F238E27FC236}">
                  <a16:creationId xmlns:a16="http://schemas.microsoft.com/office/drawing/2014/main" id="{B0E64A7F-19C8-C04C-A4DA-BB12CE0138D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61059" y="1548265"/>
              <a:ext cx="445521" cy="479485"/>
            </a:xfrm>
            <a:prstGeom prst="rect">
              <a:avLst/>
            </a:prstGeom>
          </p:spPr>
        </p:pic>
      </p:grpSp>
      <p:sp>
        <p:nvSpPr>
          <p:cNvPr id="55" name="Elipse 54">
            <a:extLst>
              <a:ext uri="{FF2B5EF4-FFF2-40B4-BE49-F238E27FC236}">
                <a16:creationId xmlns:a16="http://schemas.microsoft.com/office/drawing/2014/main" id="{0F78B0F0-415A-9D4D-8D09-CB16A2156E11}"/>
              </a:ext>
            </a:extLst>
          </p:cNvPr>
          <p:cNvSpPr/>
          <p:nvPr/>
        </p:nvSpPr>
        <p:spPr>
          <a:xfrm>
            <a:off x="8337675" y="2861505"/>
            <a:ext cx="1446004" cy="144600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Rectángulo 55">
            <a:extLst>
              <a:ext uri="{FF2B5EF4-FFF2-40B4-BE49-F238E27FC236}">
                <a16:creationId xmlns:a16="http://schemas.microsoft.com/office/drawing/2014/main" id="{DE3DE640-3318-3B46-BC0D-362F059E2706}"/>
              </a:ext>
            </a:extLst>
          </p:cNvPr>
          <p:cNvSpPr/>
          <p:nvPr/>
        </p:nvSpPr>
        <p:spPr>
          <a:xfrm>
            <a:off x="8242172" y="3230564"/>
            <a:ext cx="1646817" cy="7121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4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utstanding</a:t>
            </a:r>
          </a:p>
          <a:p>
            <a:pPr marL="0" marR="0" lvl="0" indent="0" algn="ctr" defTabSz="914400" rtl="0" eaLnBrk="1" fontAlgn="auto" latinLnBrk="0" hangingPunct="1">
              <a:lnSpc>
                <a:spcPts val="24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perience</a:t>
            </a:r>
            <a:endParaRPr kumimoji="0" lang="es-MX" sz="1800" b="1" i="0" u="none" strike="noStrike" kern="1200" cap="none" spc="0" normalizeH="0" baseline="0" noProof="0" dirty="0">
              <a:ln>
                <a:noFill/>
              </a:ln>
              <a:solidFill>
                <a:srgbClr val="E8210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7" name="Imagen 56">
            <a:extLst>
              <a:ext uri="{FF2B5EF4-FFF2-40B4-BE49-F238E27FC236}">
                <a16:creationId xmlns:a16="http://schemas.microsoft.com/office/drawing/2014/main" id="{50375327-7FC5-1C4B-8AC4-BF36A55C059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763" y="2624283"/>
            <a:ext cx="494536" cy="675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4296097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rco de bloque 8"/>
          <p:cNvSpPr/>
          <p:nvPr/>
        </p:nvSpPr>
        <p:spPr>
          <a:xfrm>
            <a:off x="2428493" y="3974299"/>
            <a:ext cx="6946967" cy="5779594"/>
          </a:xfrm>
          <a:prstGeom prst="blockArc">
            <a:avLst>
              <a:gd name="adj1" fmla="val 10800000"/>
              <a:gd name="adj2" fmla="val 64786"/>
              <a:gd name="adj3" fmla="val 0"/>
            </a:avLst>
          </a:prstGeom>
          <a:noFill/>
          <a:ln w="508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Elipse 26"/>
          <p:cNvSpPr/>
          <p:nvPr/>
        </p:nvSpPr>
        <p:spPr>
          <a:xfrm>
            <a:off x="4745914" y="2913453"/>
            <a:ext cx="2312123" cy="2312123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Rectángulo 27"/>
          <p:cNvSpPr/>
          <p:nvPr/>
        </p:nvSpPr>
        <p:spPr>
          <a:xfrm>
            <a:off x="4968224" y="3579334"/>
            <a:ext cx="1928462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4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3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nning</a:t>
            </a:r>
          </a:p>
          <a:p>
            <a:pPr marL="0" marR="0" lvl="0" indent="0" algn="ctr" defTabSz="914400" rtl="0" eaLnBrk="1" fontAlgn="auto" latinLnBrk="0" hangingPunct="1">
              <a:lnSpc>
                <a:spcPts val="24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36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ts val="24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rtfolio</a:t>
            </a:r>
          </a:p>
        </p:txBody>
      </p:sp>
      <p:sp>
        <p:nvSpPr>
          <p:cNvPr id="30" name="Triángulo 29"/>
          <p:cNvSpPr/>
          <p:nvPr/>
        </p:nvSpPr>
        <p:spPr>
          <a:xfrm rot="8681921">
            <a:off x="8257439" y="4708754"/>
            <a:ext cx="482494" cy="415944"/>
          </a:xfrm>
          <a:prstGeom prst="triangl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riángulo 30"/>
          <p:cNvSpPr/>
          <p:nvPr/>
        </p:nvSpPr>
        <p:spPr>
          <a:xfrm rot="2964251">
            <a:off x="3089212" y="4708755"/>
            <a:ext cx="482494" cy="415945"/>
          </a:xfrm>
          <a:prstGeom prst="triangl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1" name="Agrupar 40"/>
          <p:cNvGrpSpPr/>
          <p:nvPr/>
        </p:nvGrpSpPr>
        <p:grpSpPr>
          <a:xfrm>
            <a:off x="4333802" y="4607584"/>
            <a:ext cx="1108705" cy="1108704"/>
            <a:chOff x="6527417" y="1441544"/>
            <a:chExt cx="693385" cy="693386"/>
          </a:xfrm>
        </p:grpSpPr>
        <p:sp>
          <p:nvSpPr>
            <p:cNvPr id="35" name="Elipse 34"/>
            <p:cNvSpPr/>
            <p:nvPr/>
          </p:nvSpPr>
          <p:spPr>
            <a:xfrm>
              <a:off x="6527417" y="1441544"/>
              <a:ext cx="693385" cy="69338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254000" dist="38100" dir="2700000" sx="105000" sy="105000" algn="tl" rotWithShape="0">
                <a:schemeClr val="tx1">
                  <a:lumMod val="75000"/>
                  <a:lumOff val="25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36" name="Imagen 3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61060" y="1548265"/>
              <a:ext cx="445521" cy="479485"/>
            </a:xfrm>
            <a:prstGeom prst="rect">
              <a:avLst/>
            </a:prstGeom>
          </p:spPr>
        </p:pic>
      </p:grpSp>
      <p:sp>
        <p:nvSpPr>
          <p:cNvPr id="46" name="CuadroTexto 45"/>
          <p:cNvSpPr txBox="1"/>
          <p:nvPr/>
        </p:nvSpPr>
        <p:spPr>
          <a:xfrm>
            <a:off x="8396592" y="2001156"/>
            <a:ext cx="3112075" cy="9833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olistic OBPPC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ffordability+value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iversal bottle</a:t>
            </a:r>
          </a:p>
        </p:txBody>
      </p:sp>
      <p:sp>
        <p:nvSpPr>
          <p:cNvPr id="47" name="Rectángulo 46"/>
          <p:cNvSpPr/>
          <p:nvPr/>
        </p:nvSpPr>
        <p:spPr>
          <a:xfrm>
            <a:off x="8193620" y="1865516"/>
            <a:ext cx="83241" cy="11189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3702901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CC_ACCESS_01038_237.jpg">
            <a:extLst>
              <a:ext uri="{FF2B5EF4-FFF2-40B4-BE49-F238E27FC236}">
                <a16:creationId xmlns:a16="http://schemas.microsoft.com/office/drawing/2014/main" id="{DEB2100E-8BAE-42AC-94B0-C2303FA9BABE}"/>
              </a:ext>
            </a:extLst>
          </p:cNvPr>
          <p:cNvPicPr>
            <a:picLocks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68" r="14918" b="-758"/>
          <a:stretch/>
        </p:blipFill>
        <p:spPr>
          <a:xfrm>
            <a:off x="392312" y="2069340"/>
            <a:ext cx="3764768" cy="3734988"/>
          </a:xfrm>
          <a:prstGeom prst="ellipse">
            <a:avLst/>
          </a:prstGeom>
          <a:ln w="76200">
            <a:solidFill>
              <a:schemeClr val="bg1"/>
            </a:solidFill>
          </a:ln>
        </p:spPr>
      </p:pic>
      <p:sp>
        <p:nvSpPr>
          <p:cNvPr id="37" name="CuadroTexto 53">
            <a:extLst>
              <a:ext uri="{FF2B5EF4-FFF2-40B4-BE49-F238E27FC236}">
                <a16:creationId xmlns:a16="http://schemas.microsoft.com/office/drawing/2014/main" id="{1A833673-8EE0-4E78-AEDE-3DB94EFB5E0A}"/>
              </a:ext>
            </a:extLst>
          </p:cNvPr>
          <p:cNvSpPr txBox="1"/>
          <p:nvPr/>
        </p:nvSpPr>
        <p:spPr>
          <a:xfrm>
            <a:off x="1226062" y="474258"/>
            <a:ext cx="766393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ables</a:t>
            </a: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lay a strategic role</a:t>
            </a:r>
            <a:endParaRPr kumimoji="0" lang="es-MX" sz="4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CuadroTexto 38"/>
          <p:cNvSpPr txBox="1"/>
          <p:nvPr/>
        </p:nvSpPr>
        <p:spPr>
          <a:xfrm>
            <a:off x="1230157" y="942365"/>
            <a:ext cx="40312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 our Portfolio and Business</a:t>
            </a: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916" y="318072"/>
            <a:ext cx="573024" cy="719328"/>
          </a:xfrm>
          <a:prstGeom prst="rect">
            <a:avLst/>
          </a:prstGeom>
        </p:spPr>
      </p:pic>
      <p:grpSp>
        <p:nvGrpSpPr>
          <p:cNvPr id="40" name="Agrupar 39"/>
          <p:cNvGrpSpPr/>
          <p:nvPr/>
        </p:nvGrpSpPr>
        <p:grpSpPr>
          <a:xfrm rot="5400000">
            <a:off x="2837918" y="4739690"/>
            <a:ext cx="1669053" cy="1670585"/>
            <a:chOff x="8935279" y="4229110"/>
            <a:chExt cx="1812817" cy="1814483"/>
          </a:xfrm>
        </p:grpSpPr>
        <p:sp>
          <p:nvSpPr>
            <p:cNvPr id="42" name="Elipse 41"/>
            <p:cNvSpPr/>
            <p:nvPr/>
          </p:nvSpPr>
          <p:spPr>
            <a:xfrm>
              <a:off x="8935279" y="4408625"/>
              <a:ext cx="1634968" cy="163496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254000" dist="38100" dir="2700000" sx="105000" sy="105000" algn="tl" rotWithShape="0">
                <a:schemeClr val="tx1">
                  <a:lumMod val="75000"/>
                  <a:lumOff val="25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43" name="Imagen 42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200000">
              <a:off x="9250404" y="4660274"/>
              <a:ext cx="1050517" cy="1130600"/>
            </a:xfrm>
            <a:prstGeom prst="rect">
              <a:avLst/>
            </a:prstGeom>
          </p:spPr>
        </p:pic>
        <p:sp>
          <p:nvSpPr>
            <p:cNvPr id="44" name="Elipse 43"/>
            <p:cNvSpPr/>
            <p:nvPr/>
          </p:nvSpPr>
          <p:spPr>
            <a:xfrm>
              <a:off x="10368679" y="4321945"/>
              <a:ext cx="220933" cy="22093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Elipse 44"/>
            <p:cNvSpPr/>
            <p:nvPr/>
          </p:nvSpPr>
          <p:spPr>
            <a:xfrm>
              <a:off x="10582106" y="4660274"/>
              <a:ext cx="165990" cy="16599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Elipse 47"/>
            <p:cNvSpPr/>
            <p:nvPr/>
          </p:nvSpPr>
          <p:spPr>
            <a:xfrm>
              <a:off x="10070818" y="4229110"/>
              <a:ext cx="124711" cy="12471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" name="CuadroTexto 3"/>
          <p:cNvSpPr txBox="1"/>
          <p:nvPr/>
        </p:nvSpPr>
        <p:spPr>
          <a:xfrm>
            <a:off x="5261366" y="2243752"/>
            <a:ext cx="6300714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ables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re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hicle</a:t>
            </a:r>
            <a:r>
              <a:rPr kumimoji="0" lang="es-ES" sz="2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o </a:t>
            </a:r>
            <a:r>
              <a:rPr kumimoji="0" lang="es-E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sure</a:t>
            </a:r>
            <a:r>
              <a:rPr kumimoji="0" lang="es-ES" sz="2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ffordability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nd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low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s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o </a:t>
            </a:r>
            <a:r>
              <a:rPr kumimoji="0" lang="es-E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nect</a:t>
            </a:r>
            <a:r>
              <a:rPr kumimoji="0" lang="es-ES" sz="2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th</a:t>
            </a:r>
            <a:r>
              <a:rPr kumimoji="0" lang="es-ES" sz="2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w</a:t>
            </a:r>
            <a:r>
              <a:rPr kumimoji="0" lang="es-ES" sz="2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E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Tx/>
              <a:buFontTx/>
              <a:buNone/>
              <a:tabLst/>
              <a:defRPr/>
            </a:pP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PPC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rategy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th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 </a:t>
            </a:r>
            <a:r>
              <a:rPr kumimoji="0" lang="es-E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ear</a:t>
            </a:r>
            <a:r>
              <a:rPr kumimoji="0" lang="es-ES" sz="2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ables</a:t>
            </a:r>
            <a:r>
              <a:rPr kumimoji="0" lang="es-ES" sz="2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oles </a:t>
            </a:r>
            <a:r>
              <a:rPr kumimoji="0" lang="es-E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oost</a:t>
            </a:r>
            <a:r>
              <a:rPr kumimoji="0" lang="es-ES" sz="2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bit</a:t>
            </a:r>
            <a:r>
              <a:rPr kumimoji="0" lang="es-ES" sz="2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velopment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y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aching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more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sumer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&amp;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hopper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eds</a:t>
            </a:r>
            <a:endParaRPr kumimoji="0" lang="es-E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Tx/>
              <a:buFontTx/>
              <a:buNone/>
              <a:tabLst/>
              <a:defRPr/>
            </a:pPr>
            <a:endParaRPr kumimoji="0" lang="es-E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gmented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ables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lows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o </a:t>
            </a:r>
            <a:r>
              <a:rPr kumimoji="0" lang="es-E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ximize</a:t>
            </a:r>
            <a:r>
              <a:rPr kumimoji="0" lang="es-ES" sz="2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venue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neration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th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e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ay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ckages</a:t>
            </a:r>
            <a:endParaRPr kumimoji="0" lang="es-E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Tx/>
              <a:buFont typeface="Wingdings" charset="2"/>
              <a:buChar char="ü"/>
              <a:tabLst/>
              <a:defRPr/>
            </a:pPr>
            <a:endParaRPr lang="es-ES" sz="2200" dirty="0">
              <a:solidFill>
                <a:prstClr val="white"/>
              </a:solidFill>
              <a:latin typeface="Calibri" panose="020F0502020204030204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00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lass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ottles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ES" sz="2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th</a:t>
            </a:r>
            <a:r>
              <a:rPr kumimoji="0" lang="es-ES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 </a:t>
            </a:r>
            <a:r>
              <a:rPr lang="es-ES" sz="2200" b="1" dirty="0">
                <a:solidFill>
                  <a:srgbClr val="FFFF00"/>
                </a:solidFill>
                <a:latin typeface="Calibri" panose="020F0502020204030204"/>
              </a:rPr>
              <a:t>premium role</a:t>
            </a:r>
            <a:r>
              <a:rPr lang="es-ES" sz="2200" dirty="0">
                <a:solidFill>
                  <a:prstClr val="white"/>
                </a:solidFill>
                <a:latin typeface="Calibri" panose="020F0502020204030204"/>
              </a:rPr>
              <a:t> in IC </a:t>
            </a:r>
            <a:r>
              <a:rPr lang="es-ES" sz="2200" dirty="0" err="1">
                <a:solidFill>
                  <a:prstClr val="white"/>
                </a:solidFill>
                <a:latin typeface="Calibri" panose="020F0502020204030204"/>
              </a:rPr>
              <a:t>Channels</a:t>
            </a:r>
            <a:endParaRPr kumimoji="0" lang="es-ES" sz="2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50" name="Conector recto 49"/>
          <p:cNvCxnSpPr/>
          <p:nvPr/>
        </p:nvCxnSpPr>
        <p:spPr>
          <a:xfrm>
            <a:off x="4959532" y="1964801"/>
            <a:ext cx="0" cy="4017056"/>
          </a:xfrm>
          <a:prstGeom prst="line">
            <a:avLst/>
          </a:prstGeom>
          <a:ln w="25400">
            <a:solidFill>
              <a:schemeClr val="bg1"/>
            </a:solidFill>
            <a:prstDash val="sysDot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1246509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53">
            <a:extLst>
              <a:ext uri="{FF2B5EF4-FFF2-40B4-BE49-F238E27FC236}">
                <a16:creationId xmlns:a16="http://schemas.microsoft.com/office/drawing/2014/main" id="{1A833673-8EE0-4E78-AEDE-3DB94EFB5E0A}"/>
              </a:ext>
            </a:extLst>
          </p:cNvPr>
          <p:cNvSpPr txBox="1"/>
          <p:nvPr/>
        </p:nvSpPr>
        <p:spPr>
          <a:xfrm>
            <a:off x="1226062" y="474258"/>
            <a:ext cx="760704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new Returnable Bottle Family</a:t>
            </a:r>
          </a:p>
        </p:txBody>
      </p:sp>
      <p:sp>
        <p:nvSpPr>
          <p:cNvPr id="3" name="CuadroTexto 2"/>
          <p:cNvSpPr txBox="1"/>
          <p:nvPr/>
        </p:nvSpPr>
        <p:spPr>
          <a:xfrm>
            <a:off x="1230157" y="942365"/>
            <a:ext cx="61490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s ready to deploy</a:t>
            </a: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870" y="419394"/>
            <a:ext cx="810768" cy="719328"/>
          </a:xfrm>
          <a:prstGeom prst="rect">
            <a:avLst/>
          </a:prstGeom>
        </p:spPr>
      </p:pic>
      <p:sp>
        <p:nvSpPr>
          <p:cNvPr id="13" name="Rectángulo redondeado 12"/>
          <p:cNvSpPr/>
          <p:nvPr/>
        </p:nvSpPr>
        <p:spPr>
          <a:xfrm>
            <a:off x="188537" y="2304749"/>
            <a:ext cx="6928700" cy="3360759"/>
          </a:xfrm>
          <a:prstGeom prst="roundRect">
            <a:avLst>
              <a:gd name="adj" fmla="val 14149"/>
            </a:avLst>
          </a:prstGeom>
          <a:solidFill>
            <a:schemeClr val="bg1"/>
          </a:solidFill>
          <a:ln>
            <a:noFill/>
          </a:ln>
          <a:effectLst>
            <a:outerShdw blurRad="127000" dist="38100" dir="2700000" sx="102000" sy="102000" algn="tl" rotWithShape="0">
              <a:schemeClr val="tx1">
                <a:lumMod val="75000"/>
                <a:lumOff val="2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CuadroTexto 15"/>
          <p:cNvSpPr txBox="1"/>
          <p:nvPr/>
        </p:nvSpPr>
        <p:spPr>
          <a:xfrm>
            <a:off x="7624119" y="3217425"/>
            <a:ext cx="567371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ylindrical Panel with 3 contact poin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duced scuff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ggressive lightweigh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ables labeling</a:t>
            </a:r>
          </a:p>
        </p:txBody>
      </p:sp>
      <p:sp>
        <p:nvSpPr>
          <p:cNvPr id="17" name="CuadroTexto 16"/>
          <p:cNvSpPr txBox="1"/>
          <p:nvPr/>
        </p:nvSpPr>
        <p:spPr>
          <a:xfrm>
            <a:off x="2296988" y="1769614"/>
            <a:ext cx="279826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Times New Roman" panose="02020603050405020304" pitchFamily="18" charset="0"/>
              </a:rPr>
              <a:t>RGB MS Universal </a:t>
            </a:r>
            <a:r>
              <a:rPr lang="en-US" sz="2000" b="1" dirty="0">
                <a:solidFill>
                  <a:srgbClr val="E82101"/>
                </a:solidFill>
                <a:latin typeface="Calibri" panose="020F0502020204030204"/>
                <a:cs typeface="Times New Roman" panose="02020603050405020304" pitchFamily="18" charset="0"/>
              </a:rPr>
              <a:t>Bottle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E82101"/>
              </a:solidFill>
              <a:effectLst/>
              <a:uLnTx/>
              <a:uFillTx/>
              <a:latin typeface="Calibri" panose="020F0502020204030204"/>
              <a:ea typeface="+mn-ea"/>
              <a:cs typeface="Times New Roman" panose="02020603050405020304" pitchFamily="18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51712FA3-34A2-4E26-A0C0-0E7DDB277F6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9797"/>
          <a:stretch/>
        </p:blipFill>
        <p:spPr>
          <a:xfrm>
            <a:off x="4775988" y="2966473"/>
            <a:ext cx="2152713" cy="1702231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B7760A5C-D234-4E18-9030-5C3B434872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4870" y="2885432"/>
            <a:ext cx="3944236" cy="1988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7514449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rco de bloque 8"/>
          <p:cNvSpPr/>
          <p:nvPr/>
        </p:nvSpPr>
        <p:spPr>
          <a:xfrm rot="5400000">
            <a:off x="-1962528" y="427380"/>
            <a:ext cx="7234794" cy="6019056"/>
          </a:xfrm>
          <a:prstGeom prst="blockArc">
            <a:avLst>
              <a:gd name="adj1" fmla="val 10800000"/>
              <a:gd name="adj2" fmla="val 64786"/>
              <a:gd name="adj3" fmla="val 0"/>
            </a:avLst>
          </a:prstGeom>
          <a:noFill/>
          <a:ln w="508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Elipse 26"/>
          <p:cNvSpPr/>
          <p:nvPr/>
        </p:nvSpPr>
        <p:spPr>
          <a:xfrm>
            <a:off x="3392730" y="2300574"/>
            <a:ext cx="2543335" cy="254333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Rectángulo 27"/>
          <p:cNvSpPr/>
          <p:nvPr/>
        </p:nvSpPr>
        <p:spPr>
          <a:xfrm>
            <a:off x="3500726" y="3408399"/>
            <a:ext cx="2333439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4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32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utstanding</a:t>
            </a:r>
            <a:endParaRPr kumimoji="0" lang="es-MX" sz="3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ts val="24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32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perience</a:t>
            </a:r>
          </a:p>
        </p:txBody>
      </p:sp>
      <p:sp>
        <p:nvSpPr>
          <p:cNvPr id="30" name="Triángulo 29"/>
          <p:cNvSpPr/>
          <p:nvPr/>
        </p:nvSpPr>
        <p:spPr>
          <a:xfrm rot="14081921">
            <a:off x="3431681" y="5924616"/>
            <a:ext cx="502485" cy="433178"/>
          </a:xfrm>
          <a:prstGeom prst="triangl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riángulo 30"/>
          <p:cNvSpPr/>
          <p:nvPr/>
        </p:nvSpPr>
        <p:spPr>
          <a:xfrm rot="8364251">
            <a:off x="3431679" y="542258"/>
            <a:ext cx="502485" cy="433178"/>
          </a:xfrm>
          <a:prstGeom prst="triangl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CuadroTexto 45"/>
          <p:cNvSpPr txBox="1"/>
          <p:nvPr/>
        </p:nvSpPr>
        <p:spPr>
          <a:xfrm>
            <a:off x="7571379" y="2822830"/>
            <a:ext cx="3112075" cy="13896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e of the art </a:t>
            </a:r>
            <a:r>
              <a:rPr kumimoji="0" lang="es-MX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xecution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pealing and call to action </a:t>
            </a:r>
            <a:r>
              <a:rPr kumimoji="0" lang="es-MX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munication</a:t>
            </a:r>
            <a:endParaRPr kumimoji="0" lang="es-MX" sz="2400" b="0" i="0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Rectángulo 46"/>
          <p:cNvSpPr/>
          <p:nvPr/>
        </p:nvSpPr>
        <p:spPr>
          <a:xfrm>
            <a:off x="7368407" y="2682555"/>
            <a:ext cx="83241" cy="1638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4" name="Imagen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4356" y="1813173"/>
            <a:ext cx="1060083" cy="1448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4250496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uadroTexto 53">
            <a:extLst>
              <a:ext uri="{FF2B5EF4-FFF2-40B4-BE49-F238E27FC236}">
                <a16:creationId xmlns:a16="http://schemas.microsoft.com/office/drawing/2014/main" id="{1A833673-8EE0-4E78-AEDE-3DB94EFB5E0A}"/>
              </a:ext>
            </a:extLst>
          </p:cNvPr>
          <p:cNvSpPr txBox="1"/>
          <p:nvPr/>
        </p:nvSpPr>
        <p:spPr>
          <a:xfrm>
            <a:off x="118402" y="73355"/>
            <a:ext cx="670178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gaging consumer through</a:t>
            </a:r>
          </a:p>
        </p:txBody>
      </p:sp>
      <p:sp>
        <p:nvSpPr>
          <p:cNvPr id="6" name="CuadroTexto 5"/>
          <p:cNvSpPr txBox="1"/>
          <p:nvPr/>
        </p:nvSpPr>
        <p:spPr>
          <a:xfrm>
            <a:off x="122497" y="541462"/>
            <a:ext cx="41099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per connection strategy</a:t>
            </a:r>
          </a:p>
        </p:txBody>
      </p:sp>
      <p:sp>
        <p:nvSpPr>
          <p:cNvPr id="34" name="Rectángulo redondeado 33"/>
          <p:cNvSpPr/>
          <p:nvPr/>
        </p:nvSpPr>
        <p:spPr>
          <a:xfrm rot="5400000">
            <a:off x="2790208" y="2586086"/>
            <a:ext cx="2827881" cy="1797227"/>
          </a:xfrm>
          <a:prstGeom prst="roundRect">
            <a:avLst>
              <a:gd name="adj" fmla="val 8935"/>
            </a:avLst>
          </a:prstGeom>
          <a:solidFill>
            <a:schemeClr val="bg1"/>
          </a:solidFill>
          <a:ln>
            <a:noFill/>
          </a:ln>
          <a:effectLst>
            <a:outerShdw blurRad="254000" dist="38100" dir="2700000" sx="102000" sy="102000" algn="tl" rotWithShape="0">
              <a:schemeClr val="tx1">
                <a:lumMod val="75000"/>
                <a:lumOff val="2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" name="Rectángulo redondeado 38"/>
          <p:cNvSpPr/>
          <p:nvPr/>
        </p:nvSpPr>
        <p:spPr>
          <a:xfrm rot="5400000">
            <a:off x="4472092" y="2267072"/>
            <a:ext cx="3465909" cy="1797227"/>
          </a:xfrm>
          <a:prstGeom prst="roundRect">
            <a:avLst>
              <a:gd name="adj" fmla="val 8935"/>
            </a:avLst>
          </a:prstGeom>
          <a:solidFill>
            <a:schemeClr val="bg1"/>
          </a:solidFill>
          <a:ln>
            <a:noFill/>
          </a:ln>
          <a:effectLst>
            <a:outerShdw blurRad="254000" dist="38100" dir="2700000" sx="102000" sy="102000" algn="tl" rotWithShape="0">
              <a:schemeClr val="tx1">
                <a:lumMod val="75000"/>
                <a:lumOff val="2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Rectángulo redondeado 39"/>
          <p:cNvSpPr/>
          <p:nvPr/>
        </p:nvSpPr>
        <p:spPr>
          <a:xfrm rot="5400000">
            <a:off x="6442952" y="2267072"/>
            <a:ext cx="3465909" cy="1797227"/>
          </a:xfrm>
          <a:prstGeom prst="roundRect">
            <a:avLst>
              <a:gd name="adj" fmla="val 8935"/>
            </a:avLst>
          </a:prstGeom>
          <a:solidFill>
            <a:schemeClr val="bg1"/>
          </a:solidFill>
          <a:ln>
            <a:noFill/>
          </a:ln>
          <a:effectLst>
            <a:outerShdw blurRad="254000" dist="38100" dir="2700000" sx="102000" sy="102000" algn="tl" rotWithShape="0">
              <a:schemeClr val="tx1">
                <a:lumMod val="75000"/>
                <a:lumOff val="2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" name="Rectángulo redondeado 40"/>
          <p:cNvSpPr/>
          <p:nvPr/>
        </p:nvSpPr>
        <p:spPr>
          <a:xfrm rot="5400000">
            <a:off x="8415220" y="2248234"/>
            <a:ext cx="3503585" cy="1797227"/>
          </a:xfrm>
          <a:prstGeom prst="roundRect">
            <a:avLst>
              <a:gd name="adj" fmla="val 8935"/>
            </a:avLst>
          </a:prstGeom>
          <a:solidFill>
            <a:schemeClr val="bg1"/>
          </a:solidFill>
          <a:ln>
            <a:noFill/>
          </a:ln>
          <a:effectLst>
            <a:outerShdw blurRad="254000" dist="38100" dir="2700000" sx="102000" sy="102000" algn="tl" rotWithShape="0">
              <a:schemeClr val="tx1">
                <a:lumMod val="75000"/>
                <a:lumOff val="2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2" name="PIEZAS-CC-DESCUBRE_A.jpg">
            <a:extLst>
              <a:ext uri="{FF2B5EF4-FFF2-40B4-BE49-F238E27FC236}">
                <a16:creationId xmlns:a16="http://schemas.microsoft.com/office/drawing/2014/main" id="{8D58C3FA-AD9C-4D7D-A536-5191034B2CB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88" t="2818" r="4671" b="12110"/>
          <a:stretch/>
        </p:blipFill>
        <p:spPr>
          <a:xfrm>
            <a:off x="3304149" y="2224699"/>
            <a:ext cx="1800000" cy="2520000"/>
          </a:xfrm>
          <a:prstGeom prst="rect">
            <a:avLst/>
          </a:prstGeom>
          <a:ln>
            <a:noFill/>
          </a:ln>
        </p:spPr>
      </p:pic>
      <p:pic>
        <p:nvPicPr>
          <p:cNvPr id="43" name="Picture 1">
            <a:extLst>
              <a:ext uri="{FF2B5EF4-FFF2-40B4-BE49-F238E27FC236}">
                <a16:creationId xmlns:a16="http://schemas.microsoft.com/office/drawing/2014/main" id="{2049162F-78AF-4893-B328-D52FBBE745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75907" y="2224699"/>
            <a:ext cx="1800000" cy="2520000"/>
          </a:xfrm>
          <a:prstGeom prst="rect">
            <a:avLst/>
          </a:prstGeom>
        </p:spPr>
      </p:pic>
      <p:pic>
        <p:nvPicPr>
          <p:cNvPr id="44" name="Imagen 2">
            <a:extLst>
              <a:ext uri="{FF2B5EF4-FFF2-40B4-BE49-F238E27FC236}">
                <a16:creationId xmlns:a16="http://schemas.microsoft.com/office/drawing/2014/main" id="{3B14B0F1-FC9E-46E7-8935-A4B5F0B1CE0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043" t="2631" r="27759" b="4386"/>
          <a:stretch/>
        </p:blipFill>
        <p:spPr>
          <a:xfrm>
            <a:off x="9267013" y="2224699"/>
            <a:ext cx="1800000" cy="2520000"/>
          </a:xfrm>
          <a:prstGeom prst="rect">
            <a:avLst/>
          </a:prstGeom>
        </p:spPr>
      </p:pic>
      <p:pic>
        <p:nvPicPr>
          <p:cNvPr id="45" name="Imagen 6" descr="Imagen que contiene botella, mesa, interior, comida&#10;&#10;Descripción generada con confianza muy alta">
            <a:extLst>
              <a:ext uri="{FF2B5EF4-FFF2-40B4-BE49-F238E27FC236}">
                <a16:creationId xmlns:a16="http://schemas.microsoft.com/office/drawing/2014/main" id="{78454AD7-7643-4376-917F-F6F19829108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5047" y="2224699"/>
            <a:ext cx="1800000" cy="2520000"/>
          </a:xfrm>
          <a:prstGeom prst="rect">
            <a:avLst/>
          </a:prstGeom>
        </p:spPr>
      </p:pic>
      <p:sp>
        <p:nvSpPr>
          <p:cNvPr id="2" name="CuadroTexto 1"/>
          <p:cNvSpPr txBox="1"/>
          <p:nvPr/>
        </p:nvSpPr>
        <p:spPr>
          <a:xfrm>
            <a:off x="866704" y="3130756"/>
            <a:ext cx="1500283" cy="6771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ith the right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ssages</a:t>
            </a:r>
          </a:p>
        </p:txBody>
      </p:sp>
      <p:sp>
        <p:nvSpPr>
          <p:cNvPr id="46" name="Flecha a la derecha con bandas 45"/>
          <p:cNvSpPr/>
          <p:nvPr/>
        </p:nvSpPr>
        <p:spPr>
          <a:xfrm>
            <a:off x="2497122" y="3258772"/>
            <a:ext cx="679114" cy="569814"/>
          </a:xfrm>
          <a:prstGeom prst="stripedRightArrow">
            <a:avLst>
              <a:gd name="adj1" fmla="val 44814"/>
              <a:gd name="adj2" fmla="val 70290"/>
            </a:avLst>
          </a:prstGeom>
          <a:solidFill>
            <a:srgbClr val="E821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TextBox 16">
            <a:extLst>
              <a:ext uri="{FF2B5EF4-FFF2-40B4-BE49-F238E27FC236}">
                <a16:creationId xmlns:a16="http://schemas.microsoft.com/office/drawing/2014/main" id="{CB764BB9-537E-4735-B423-46C590D99BAC}"/>
              </a:ext>
            </a:extLst>
          </p:cNvPr>
          <p:cNvSpPr txBox="1"/>
          <p:nvPr/>
        </p:nvSpPr>
        <p:spPr>
          <a:xfrm>
            <a:off x="5566441" y="1056501"/>
            <a:ext cx="12537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ild Habit</a:t>
            </a:r>
          </a:p>
        </p:txBody>
      </p:sp>
      <p:sp>
        <p:nvSpPr>
          <p:cNvPr id="48" name="TextBox 17">
            <a:extLst>
              <a:ext uri="{FF2B5EF4-FFF2-40B4-BE49-F238E27FC236}">
                <a16:creationId xmlns:a16="http://schemas.microsoft.com/office/drawing/2014/main" id="{1CC02AD4-0D74-4090-8A2B-A36B88A63897}"/>
              </a:ext>
            </a:extLst>
          </p:cNvPr>
          <p:cNvSpPr txBox="1"/>
          <p:nvPr/>
        </p:nvSpPr>
        <p:spPr>
          <a:xfrm>
            <a:off x="7562123" y="1072322"/>
            <a:ext cx="12258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etration</a:t>
            </a:r>
          </a:p>
        </p:txBody>
      </p:sp>
      <p:sp>
        <p:nvSpPr>
          <p:cNvPr id="49" name="TextBox 18">
            <a:extLst>
              <a:ext uri="{FF2B5EF4-FFF2-40B4-BE49-F238E27FC236}">
                <a16:creationId xmlns:a16="http://schemas.microsoft.com/office/drawing/2014/main" id="{E874DC6F-3A24-41BA-9891-7ECE7A7FFE73}"/>
              </a:ext>
            </a:extLst>
          </p:cNvPr>
          <p:cNvSpPr txBox="1"/>
          <p:nvPr/>
        </p:nvSpPr>
        <p:spPr>
          <a:xfrm>
            <a:off x="9612654" y="1056501"/>
            <a:ext cx="11144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equency</a:t>
            </a:r>
          </a:p>
        </p:txBody>
      </p:sp>
      <p:sp>
        <p:nvSpPr>
          <p:cNvPr id="50" name="TextBox 28">
            <a:extLst>
              <a:ext uri="{FF2B5EF4-FFF2-40B4-BE49-F238E27FC236}">
                <a16:creationId xmlns:a16="http://schemas.microsoft.com/office/drawing/2014/main" id="{F6B0758C-39C6-4007-B086-FBE1D2E6FBD7}"/>
              </a:ext>
            </a:extLst>
          </p:cNvPr>
          <p:cNvSpPr txBox="1"/>
          <p:nvPr/>
        </p:nvSpPr>
        <p:spPr>
          <a:xfrm>
            <a:off x="3407123" y="1072322"/>
            <a:ext cx="163163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S consumption</a:t>
            </a:r>
          </a:p>
        </p:txBody>
      </p:sp>
      <p:sp>
        <p:nvSpPr>
          <p:cNvPr id="51" name="CuadroTexto 50"/>
          <p:cNvSpPr txBox="1"/>
          <p:nvPr/>
        </p:nvSpPr>
        <p:spPr>
          <a:xfrm>
            <a:off x="164592" y="5405620"/>
            <a:ext cx="2202395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s-I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 Right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nection Points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 moments</a:t>
            </a:r>
          </a:p>
        </p:txBody>
      </p:sp>
      <p:sp>
        <p:nvSpPr>
          <p:cNvPr id="52" name="Flecha a la derecha con bandas 51"/>
          <p:cNvSpPr/>
          <p:nvPr/>
        </p:nvSpPr>
        <p:spPr>
          <a:xfrm>
            <a:off x="2497122" y="5613156"/>
            <a:ext cx="679114" cy="569814"/>
          </a:xfrm>
          <a:prstGeom prst="stripedRightArrow">
            <a:avLst>
              <a:gd name="adj1" fmla="val 44814"/>
              <a:gd name="adj2" fmla="val 70290"/>
            </a:avLst>
          </a:prstGeom>
          <a:solidFill>
            <a:srgbClr val="E821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Rectángulo redondeado 52"/>
          <p:cNvSpPr/>
          <p:nvPr/>
        </p:nvSpPr>
        <p:spPr>
          <a:xfrm rot="10800000">
            <a:off x="3304147" y="5300316"/>
            <a:ext cx="7761479" cy="1195495"/>
          </a:xfrm>
          <a:prstGeom prst="roundRect">
            <a:avLst>
              <a:gd name="adj" fmla="val 8935"/>
            </a:avLst>
          </a:prstGeom>
          <a:solidFill>
            <a:schemeClr val="bg1"/>
          </a:solidFill>
          <a:ln>
            <a:noFill/>
          </a:ln>
          <a:effectLst>
            <a:outerShdw blurRad="254000" dist="38100" dir="2700000" sx="102000" sy="102000" algn="tl" rotWithShape="0">
              <a:schemeClr val="tx1">
                <a:lumMod val="75000"/>
                <a:lumOff val="2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4" name="Picture 19">
            <a:extLst>
              <a:ext uri="{FF2B5EF4-FFF2-40B4-BE49-F238E27FC236}">
                <a16:creationId xmlns:a16="http://schemas.microsoft.com/office/drawing/2014/main" id="{8175B1B2-9B54-4EB4-AC45-C5200FD780B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70801" y="5486044"/>
            <a:ext cx="7253838" cy="947150"/>
          </a:xfrm>
          <a:prstGeom prst="rect">
            <a:avLst/>
          </a:prstGeom>
        </p:spPr>
      </p:pic>
      <p:pic>
        <p:nvPicPr>
          <p:cNvPr id="55" name="Imagen 5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3354" y="6087274"/>
            <a:ext cx="307319" cy="594486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0E1C693D-913B-4B6D-A187-711A69FE360E}"/>
              </a:ext>
            </a:extLst>
          </p:cNvPr>
          <p:cNvSpPr txBox="1"/>
          <p:nvPr/>
        </p:nvSpPr>
        <p:spPr>
          <a:xfrm>
            <a:off x="3297498" y="2984252"/>
            <a:ext cx="1208514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600" dirty="0"/>
              <a:t>DISCOV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B0A11F1-A8B2-4C87-B5BD-5C3D035AC6F4}"/>
              </a:ext>
            </a:extLst>
          </p:cNvPr>
          <p:cNvSpPr txBox="1"/>
          <p:nvPr/>
        </p:nvSpPr>
        <p:spPr>
          <a:xfrm>
            <a:off x="3293387" y="3230640"/>
            <a:ext cx="1123745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FF0000"/>
                </a:solidFill>
              </a:rPr>
              <a:t>THE FLAVOR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4B69D6F-D657-47A2-A3CB-7F0F9FF731B7}"/>
              </a:ext>
            </a:extLst>
          </p:cNvPr>
          <p:cNvSpPr txBox="1"/>
          <p:nvPr/>
        </p:nvSpPr>
        <p:spPr>
          <a:xfrm>
            <a:off x="3300123" y="3466027"/>
            <a:ext cx="9513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FF0000"/>
                </a:solidFill>
              </a:rPr>
              <a:t>YOU LOV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13ECD57-59AF-45AC-84C2-46BA0160797D}"/>
              </a:ext>
            </a:extLst>
          </p:cNvPr>
          <p:cNvSpPr txBox="1"/>
          <p:nvPr/>
        </p:nvSpPr>
        <p:spPr>
          <a:xfrm>
            <a:off x="5346711" y="1466119"/>
            <a:ext cx="1676841" cy="60016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100" dirty="0"/>
              <a:t>*BRING YOUR BOTTLE AND TAKE YOUR FAVORITE BEVERAG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D648B5F-4E85-47C8-9A23-AB5A417E5FE6}"/>
              </a:ext>
            </a:extLst>
          </p:cNvPr>
          <p:cNvSpPr txBox="1"/>
          <p:nvPr/>
        </p:nvSpPr>
        <p:spPr>
          <a:xfrm>
            <a:off x="7296152" y="1453843"/>
            <a:ext cx="1676841" cy="60016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100" dirty="0"/>
              <a:t>*PAY ONLY FOR THE CONTENT AND SHARE IN THE TABLE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62ABF6D-2A95-47A0-9E7B-B04D3140014D}"/>
              </a:ext>
            </a:extLst>
          </p:cNvPr>
          <p:cNvSpPr txBox="1"/>
          <p:nvPr/>
        </p:nvSpPr>
        <p:spPr>
          <a:xfrm>
            <a:off x="9328591" y="1475564"/>
            <a:ext cx="1676841" cy="4308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100" dirty="0"/>
              <a:t>*ENJOY SPECIAL MOMENTS IN THE TABLE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A9B01C98-39CD-4D76-BA29-8B5AA41F33BD}"/>
              </a:ext>
            </a:extLst>
          </p:cNvPr>
          <p:cNvSpPr txBox="1"/>
          <p:nvPr/>
        </p:nvSpPr>
        <p:spPr>
          <a:xfrm>
            <a:off x="5305046" y="4975584"/>
            <a:ext cx="5760579" cy="26161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100" dirty="0"/>
              <a:t>* WITH RETURNABLES YOU SAVE AND TAKE CARE OF THE ENVIRONMENT</a:t>
            </a:r>
          </a:p>
        </p:txBody>
      </p:sp>
    </p:spTree>
    <p:extLst>
      <p:ext uri="{BB962C8B-B14F-4D97-AF65-F5344CB8AC3E}">
        <p14:creationId xmlns:p14="http://schemas.microsoft.com/office/powerpoint/2010/main" val="1002598451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53">
            <a:extLst>
              <a:ext uri="{FF2B5EF4-FFF2-40B4-BE49-F238E27FC236}">
                <a16:creationId xmlns:a16="http://schemas.microsoft.com/office/drawing/2014/main" id="{1A833673-8EE0-4E78-AEDE-3DB94EFB5E0A}"/>
              </a:ext>
            </a:extLst>
          </p:cNvPr>
          <p:cNvSpPr txBox="1"/>
          <p:nvPr/>
        </p:nvSpPr>
        <p:spPr>
          <a:xfrm>
            <a:off x="1226061" y="474258"/>
            <a:ext cx="1047825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will </a:t>
            </a: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nerate </a:t>
            </a:r>
            <a:r>
              <a:rPr kumimoji="0" lang="en-US" sz="4400" b="1" i="0" u="none" strike="noStrike" kern="1200" cap="none" spc="0" normalizeH="0" baseline="0" noProof="0" dirty="0" err="1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able’s</a:t>
            </a: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xecution EDGE </a:t>
            </a:r>
          </a:p>
        </p:txBody>
      </p:sp>
      <p:sp>
        <p:nvSpPr>
          <p:cNvPr id="4" name="CuadroTexto 3"/>
          <p:cNvSpPr txBox="1"/>
          <p:nvPr/>
        </p:nvSpPr>
        <p:spPr>
          <a:xfrm>
            <a:off x="1230157" y="942365"/>
            <a:ext cx="95763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&amp; 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rove our Quality Leadership</a:t>
            </a:r>
          </a:p>
        </p:txBody>
      </p:sp>
      <p:pic>
        <p:nvPicPr>
          <p:cNvPr id="20" name="Imagen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90" y="426437"/>
            <a:ext cx="719328" cy="719328"/>
          </a:xfrm>
          <a:prstGeom prst="rect">
            <a:avLst/>
          </a:prstGeom>
        </p:spPr>
      </p:pic>
      <p:grpSp>
        <p:nvGrpSpPr>
          <p:cNvPr id="11" name="Agrupar 10"/>
          <p:cNvGrpSpPr/>
          <p:nvPr/>
        </p:nvGrpSpPr>
        <p:grpSpPr>
          <a:xfrm>
            <a:off x="5703548" y="3802302"/>
            <a:ext cx="847248" cy="952848"/>
            <a:chOff x="8277455" y="2064376"/>
            <a:chExt cx="847248" cy="952848"/>
          </a:xfrm>
        </p:grpSpPr>
        <p:pic>
          <p:nvPicPr>
            <p:cNvPr id="27" name="Imagen 2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66394" y="2446856"/>
              <a:ext cx="658309" cy="570368"/>
            </a:xfrm>
            <a:prstGeom prst="rect">
              <a:avLst/>
            </a:prstGeom>
          </p:spPr>
        </p:pic>
        <p:pic>
          <p:nvPicPr>
            <p:cNvPr id="28" name="Imagen 27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77455" y="2064376"/>
              <a:ext cx="629338" cy="492525"/>
            </a:xfrm>
            <a:prstGeom prst="rect">
              <a:avLst/>
            </a:prstGeom>
          </p:spPr>
        </p:pic>
      </p:grpSp>
      <p:pic>
        <p:nvPicPr>
          <p:cNvPr id="29" name="Imagen 2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9962" y="2151801"/>
            <a:ext cx="287310" cy="971186"/>
          </a:xfrm>
          <a:prstGeom prst="rect">
            <a:avLst/>
          </a:prstGeom>
        </p:spPr>
      </p:pic>
      <p:pic>
        <p:nvPicPr>
          <p:cNvPr id="30" name="Imagen 2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6698" y="5369959"/>
            <a:ext cx="834189" cy="834189"/>
          </a:xfrm>
          <a:prstGeom prst="rect">
            <a:avLst/>
          </a:prstGeom>
        </p:spPr>
      </p:pic>
      <p:pic>
        <p:nvPicPr>
          <p:cNvPr id="43" name="Imagen 4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4740911" y="4185729"/>
            <a:ext cx="4813179" cy="185995"/>
          </a:xfrm>
          <a:prstGeom prst="rect">
            <a:avLst/>
          </a:prstGeom>
        </p:spPr>
      </p:pic>
      <p:cxnSp>
        <p:nvCxnSpPr>
          <p:cNvPr id="44" name="Conector recto 43"/>
          <p:cNvCxnSpPr/>
          <p:nvPr/>
        </p:nvCxnSpPr>
        <p:spPr>
          <a:xfrm>
            <a:off x="5503549" y="3448363"/>
            <a:ext cx="5939514" cy="0"/>
          </a:xfrm>
          <a:prstGeom prst="line">
            <a:avLst/>
          </a:prstGeom>
          <a:ln w="25400">
            <a:solidFill>
              <a:srgbClr val="E8210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CuadroTexto 49"/>
          <p:cNvSpPr txBox="1"/>
          <p:nvPr/>
        </p:nvSpPr>
        <p:spPr>
          <a:xfrm>
            <a:off x="7295231" y="5355274"/>
            <a:ext cx="239417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and lov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ilies convers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r Caps increas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tter experience</a:t>
            </a:r>
            <a:endParaRPr kumimoji="0" lang="es-ES" sz="16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1" name="CuadroTexto 50"/>
          <p:cNvSpPr txBox="1"/>
          <p:nvPr/>
        </p:nvSpPr>
        <p:spPr>
          <a:xfrm>
            <a:off x="7295231" y="2259192"/>
            <a:ext cx="304853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vailability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mprove profit - margi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les - Transact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VI &amp; SOCI</a:t>
            </a:r>
          </a:p>
        </p:txBody>
      </p:sp>
      <p:sp>
        <p:nvSpPr>
          <p:cNvPr id="52" name="CuadroTexto 51"/>
          <p:cNvSpPr txBox="1"/>
          <p:nvPr/>
        </p:nvSpPr>
        <p:spPr>
          <a:xfrm>
            <a:off x="7295231" y="3879194"/>
            <a:ext cx="189661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olum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venu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fi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hare of Market</a:t>
            </a:r>
          </a:p>
        </p:txBody>
      </p:sp>
      <p:sp>
        <p:nvSpPr>
          <p:cNvPr id="53" name="CuadroTexto 52"/>
          <p:cNvSpPr txBox="1"/>
          <p:nvPr/>
        </p:nvSpPr>
        <p:spPr>
          <a:xfrm>
            <a:off x="9268177" y="3879194"/>
            <a:ext cx="250971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hare of Valu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DE/10k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b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tems per stor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82101"/>
              </a:buClr>
              <a:buSzTx/>
              <a:buFont typeface="Wingdings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rease consumer base</a:t>
            </a:r>
            <a:endParaRPr kumimoji="0" lang="es-MX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5" name="Conector recto 34"/>
          <p:cNvCxnSpPr/>
          <p:nvPr/>
        </p:nvCxnSpPr>
        <p:spPr>
          <a:xfrm>
            <a:off x="5503549" y="5133736"/>
            <a:ext cx="5939514" cy="0"/>
          </a:xfrm>
          <a:prstGeom prst="line">
            <a:avLst/>
          </a:prstGeom>
          <a:ln w="25400">
            <a:solidFill>
              <a:srgbClr val="E8210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Agrupar 15"/>
          <p:cNvGrpSpPr/>
          <p:nvPr/>
        </p:nvGrpSpPr>
        <p:grpSpPr>
          <a:xfrm>
            <a:off x="370590" y="2267377"/>
            <a:ext cx="4798129" cy="3862331"/>
            <a:chOff x="370590" y="2267377"/>
            <a:chExt cx="4798129" cy="3862331"/>
          </a:xfrm>
        </p:grpSpPr>
        <p:sp>
          <p:nvSpPr>
            <p:cNvPr id="32" name="Rectángulo redondeado 31"/>
            <p:cNvSpPr/>
            <p:nvPr/>
          </p:nvSpPr>
          <p:spPr>
            <a:xfrm>
              <a:off x="370590" y="2318387"/>
              <a:ext cx="4798129" cy="3811321"/>
            </a:xfrm>
            <a:prstGeom prst="roundRect">
              <a:avLst>
                <a:gd name="adj" fmla="val 11632"/>
              </a:avLst>
            </a:prstGeom>
            <a:solidFill>
              <a:schemeClr val="bg1"/>
            </a:solidFill>
            <a:ln>
              <a:noFill/>
            </a:ln>
            <a:effectLst>
              <a:outerShdw blurRad="254000" dist="38100" dir="2700000" sx="102000" sy="102000" algn="tl" rotWithShape="0">
                <a:schemeClr val="tx1">
                  <a:lumMod val="75000"/>
                  <a:lumOff val="25000"/>
                  <a:alpha val="1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TextBox 39">
              <a:extLst>
                <a:ext uri="{FF2B5EF4-FFF2-40B4-BE49-F238E27FC236}">
                  <a16:creationId xmlns:a16="http://schemas.microsoft.com/office/drawing/2014/main" id="{6E2FDD36-F945-4004-8889-E08702B7AFD3}"/>
                </a:ext>
              </a:extLst>
            </p:cNvPr>
            <p:cNvSpPr txBox="1"/>
            <p:nvPr/>
          </p:nvSpPr>
          <p:spPr>
            <a:xfrm rot="16200000">
              <a:off x="-107953" y="4116819"/>
              <a:ext cx="163152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levance</a:t>
              </a:r>
            </a:p>
          </p:txBody>
        </p:sp>
        <p:sp>
          <p:nvSpPr>
            <p:cNvPr id="8" name="TextBox 40">
              <a:extLst>
                <a:ext uri="{FF2B5EF4-FFF2-40B4-BE49-F238E27FC236}">
                  <a16:creationId xmlns:a16="http://schemas.microsoft.com/office/drawing/2014/main" id="{F6E52A26-7427-4CA5-8A1A-D6DBC0EA4925}"/>
                </a:ext>
              </a:extLst>
            </p:cNvPr>
            <p:cNvSpPr txBox="1"/>
            <p:nvPr/>
          </p:nvSpPr>
          <p:spPr>
            <a:xfrm>
              <a:off x="1894558" y="5625355"/>
              <a:ext cx="200607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Uniqueness</a:t>
              </a:r>
            </a:p>
          </p:txBody>
        </p:sp>
        <p:sp>
          <p:nvSpPr>
            <p:cNvPr id="13" name="TextBox 88">
              <a:extLst>
                <a:ext uri="{FF2B5EF4-FFF2-40B4-BE49-F238E27FC236}">
                  <a16:creationId xmlns:a16="http://schemas.microsoft.com/office/drawing/2014/main" id="{5CA62F74-96E1-4EB6-8DEA-569A81ED3155}"/>
                </a:ext>
              </a:extLst>
            </p:cNvPr>
            <p:cNvSpPr txBox="1"/>
            <p:nvPr/>
          </p:nvSpPr>
          <p:spPr>
            <a:xfrm>
              <a:off x="1392466" y="2550857"/>
              <a:ext cx="3081429" cy="5316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E8210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turnables</a:t>
              </a: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E82101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’ EDGE</a:t>
              </a:r>
            </a:p>
          </p:txBody>
        </p:sp>
        <p:cxnSp>
          <p:nvCxnSpPr>
            <p:cNvPr id="21" name="Conector recto de flecha 20"/>
            <p:cNvCxnSpPr/>
            <p:nvPr/>
          </p:nvCxnSpPr>
          <p:spPr>
            <a:xfrm flipV="1">
              <a:off x="1022148" y="3085262"/>
              <a:ext cx="0" cy="2408876"/>
            </a:xfrm>
            <a:prstGeom prst="straightConnector1">
              <a:avLst/>
            </a:prstGeom>
            <a:ln w="28575">
              <a:solidFill>
                <a:srgbClr val="E82101"/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ector recto de flecha 22"/>
            <p:cNvCxnSpPr/>
            <p:nvPr/>
          </p:nvCxnSpPr>
          <p:spPr>
            <a:xfrm>
              <a:off x="1022148" y="5494138"/>
              <a:ext cx="3610668" cy="0"/>
            </a:xfrm>
            <a:prstGeom prst="straightConnector1">
              <a:avLst/>
            </a:prstGeom>
            <a:ln w="28575">
              <a:solidFill>
                <a:srgbClr val="E82101"/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1" name="Imagen 30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43633" y="2267377"/>
              <a:ext cx="427720" cy="446646"/>
            </a:xfrm>
            <a:prstGeom prst="rect">
              <a:avLst/>
            </a:prstGeom>
          </p:spPr>
        </p:pic>
        <p:sp>
          <p:nvSpPr>
            <p:cNvPr id="37" name="TextBox 20">
              <a:extLst>
                <a:ext uri="{FF2B5EF4-FFF2-40B4-BE49-F238E27FC236}">
                  <a16:creationId xmlns:a16="http://schemas.microsoft.com/office/drawing/2014/main" id="{2B48779C-3855-4231-90F1-FCFBB789A6A6}"/>
                </a:ext>
              </a:extLst>
            </p:cNvPr>
            <p:cNvSpPr txBox="1"/>
            <p:nvPr/>
          </p:nvSpPr>
          <p:spPr>
            <a:xfrm>
              <a:off x="2611273" y="4591046"/>
              <a:ext cx="97160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turnablesPortfolio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Availability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TextBox 21">
              <a:extLst>
                <a:ext uri="{FF2B5EF4-FFF2-40B4-BE49-F238E27FC236}">
                  <a16:creationId xmlns:a16="http://schemas.microsoft.com/office/drawing/2014/main" id="{0E97780E-2914-4A60-B93D-54B26F1D8EDF}"/>
                </a:ext>
              </a:extLst>
            </p:cNvPr>
            <p:cNvSpPr txBox="1"/>
            <p:nvPr/>
          </p:nvSpPr>
          <p:spPr>
            <a:xfrm>
              <a:off x="1180329" y="5099583"/>
              <a:ext cx="131532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ooler Coverage and Execution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TextBox 22">
              <a:extLst>
                <a:ext uri="{FF2B5EF4-FFF2-40B4-BE49-F238E27FC236}">
                  <a16:creationId xmlns:a16="http://schemas.microsoft.com/office/drawing/2014/main" id="{1064367A-7925-471C-956A-D4BAD8BAA58F}"/>
                </a:ext>
              </a:extLst>
            </p:cNvPr>
            <p:cNvSpPr txBox="1"/>
            <p:nvPr/>
          </p:nvSpPr>
          <p:spPr>
            <a:xfrm>
              <a:off x="3815398" y="4244562"/>
              <a:ext cx="88328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OS Experience</a:t>
              </a:r>
            </a:p>
          </p:txBody>
        </p:sp>
        <p:pic>
          <p:nvPicPr>
            <p:cNvPr id="40" name="Imagen 39"/>
            <p:cNvPicPr>
              <a:picLocks noChangeAspect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578" r="16578"/>
            <a:stretch/>
          </p:blipFill>
          <p:spPr>
            <a:xfrm>
              <a:off x="2580448" y="3553076"/>
              <a:ext cx="983540" cy="983540"/>
            </a:xfrm>
            <a:prstGeom prst="ellipse">
              <a:avLst/>
            </a:prstGeom>
            <a:ln w="38100">
              <a:solidFill>
                <a:schemeClr val="bg1"/>
              </a:solidFill>
            </a:ln>
            <a:effectLst>
              <a:outerShdw blurRad="254000" dist="38100" dir="2700000" sx="105000" sy="105000" algn="tl" rotWithShape="0">
                <a:schemeClr val="tx1">
                  <a:lumMod val="75000"/>
                  <a:lumOff val="25000"/>
                  <a:alpha val="20000"/>
                </a:schemeClr>
              </a:outerShdw>
            </a:effectLst>
          </p:spPr>
        </p:pic>
        <p:pic>
          <p:nvPicPr>
            <p:cNvPr id="12" name="Imagen 11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28185" y="2975079"/>
              <a:ext cx="1143037" cy="1233471"/>
            </a:xfrm>
            <a:prstGeom prst="rect">
              <a:avLst/>
            </a:prstGeom>
          </p:spPr>
        </p:pic>
        <p:pic>
          <p:nvPicPr>
            <p:cNvPr id="10" name="Imagen 9"/>
            <p:cNvPicPr>
              <a:picLocks noChangeAspect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5834" t="27894" r="20116" b="13358"/>
            <a:stretch/>
          </p:blipFill>
          <p:spPr>
            <a:xfrm rot="5400000">
              <a:off x="1337295" y="3941876"/>
              <a:ext cx="1065274" cy="1065565"/>
            </a:xfrm>
            <a:prstGeom prst="ellipse">
              <a:avLst/>
            </a:prstGeom>
            <a:noFill/>
            <a:ln w="38100">
              <a:solidFill>
                <a:schemeClr val="bg1"/>
              </a:solidFill>
            </a:ln>
            <a:effectLst>
              <a:outerShdw blurRad="50800" dist="38100" dir="2700000" algn="tl" rotWithShape="0">
                <a:schemeClr val="tx1">
                  <a:lumMod val="75000"/>
                  <a:lumOff val="25000"/>
                  <a:alpha val="20000"/>
                </a:scheme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4230764654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oca-Cola glass bottles go beyond recycling – Daily Tribune">
            <a:extLst>
              <a:ext uri="{FF2B5EF4-FFF2-40B4-BE49-F238E27FC236}">
                <a16:creationId xmlns:a16="http://schemas.microsoft.com/office/drawing/2014/main" id="{496377F4-A3BF-4759-9A73-B3D85D998D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457200"/>
            <a:ext cx="12192000" cy="7315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23A117E-1C45-4B22-9465-8A6E934D3206}"/>
              </a:ext>
            </a:extLst>
          </p:cNvPr>
          <p:cNvSpPr/>
          <p:nvPr/>
        </p:nvSpPr>
        <p:spPr>
          <a:xfrm>
            <a:off x="0" y="-457200"/>
            <a:ext cx="12192000" cy="7315200"/>
          </a:xfrm>
          <a:prstGeom prst="rect">
            <a:avLst/>
          </a:prstGeom>
          <a:solidFill>
            <a:srgbClr val="0000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D33EC7-FBDE-4D71-884A-FF622C0059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business imperativ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A16397-6374-48DF-A43B-6938E48181B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anchor="ctr">
            <a:normAutofit/>
          </a:bodyPr>
          <a:lstStyle/>
          <a:p>
            <a:pPr marL="0" indent="0">
              <a:buNone/>
            </a:pPr>
            <a:r>
              <a:rPr lang="en-US" sz="2800" dirty="0"/>
              <a:t>The </a:t>
            </a:r>
            <a:r>
              <a:rPr lang="en-US" sz="2800" dirty="0" err="1"/>
              <a:t>returnables</a:t>
            </a:r>
            <a:r>
              <a:rPr lang="en-US" sz="2800" dirty="0"/>
              <a:t> platform is a key enabler for accelerated incidence and share </a:t>
            </a:r>
            <a:r>
              <a:rPr lang="en-US" sz="2800" dirty="0">
                <a:highlight>
                  <a:srgbClr val="FF0000"/>
                </a:highlight>
              </a:rPr>
              <a:t>growth</a:t>
            </a:r>
            <a:r>
              <a:rPr lang="en-US" sz="2800" dirty="0"/>
              <a:t> while delivering Affordability.</a:t>
            </a:r>
          </a:p>
        </p:txBody>
      </p:sp>
    </p:spTree>
    <p:extLst>
      <p:ext uri="{BB962C8B-B14F-4D97-AF65-F5344CB8AC3E}">
        <p14:creationId xmlns:p14="http://schemas.microsoft.com/office/powerpoint/2010/main" val="218356181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rco de bloque 8"/>
          <p:cNvSpPr/>
          <p:nvPr/>
        </p:nvSpPr>
        <p:spPr>
          <a:xfrm rot="16200000">
            <a:off x="6691564" y="427380"/>
            <a:ext cx="7234794" cy="6019056"/>
          </a:xfrm>
          <a:prstGeom prst="blockArc">
            <a:avLst>
              <a:gd name="adj1" fmla="val 10800000"/>
              <a:gd name="adj2" fmla="val 64786"/>
              <a:gd name="adj3" fmla="val 0"/>
            </a:avLst>
          </a:prstGeom>
          <a:noFill/>
          <a:ln w="50800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Elipse 26"/>
          <p:cNvSpPr/>
          <p:nvPr/>
        </p:nvSpPr>
        <p:spPr>
          <a:xfrm>
            <a:off x="6035346" y="2300574"/>
            <a:ext cx="2543335" cy="254333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Rectángulo 27"/>
          <p:cNvSpPr/>
          <p:nvPr/>
        </p:nvSpPr>
        <p:spPr>
          <a:xfrm>
            <a:off x="6143342" y="3189939"/>
            <a:ext cx="2333439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4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ll</a:t>
            </a:r>
          </a:p>
          <a:p>
            <a:pPr marL="0" marR="0" lvl="0" indent="0" algn="ctr" defTabSz="914400" rtl="0" eaLnBrk="1" fontAlgn="auto" latinLnBrk="0" hangingPunct="1">
              <a:lnSpc>
                <a:spcPts val="24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32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gagement</a:t>
            </a:r>
          </a:p>
        </p:txBody>
      </p:sp>
      <p:sp>
        <p:nvSpPr>
          <p:cNvPr id="30" name="Triángulo 29"/>
          <p:cNvSpPr/>
          <p:nvPr/>
        </p:nvSpPr>
        <p:spPr>
          <a:xfrm rot="3281921">
            <a:off x="8029664" y="516022"/>
            <a:ext cx="502485" cy="433178"/>
          </a:xfrm>
          <a:prstGeom prst="triangl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riángulo 30"/>
          <p:cNvSpPr/>
          <p:nvPr/>
        </p:nvSpPr>
        <p:spPr>
          <a:xfrm rot="19164251">
            <a:off x="8029666" y="5898380"/>
            <a:ext cx="502485" cy="433178"/>
          </a:xfrm>
          <a:prstGeom prst="triangle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CuadroTexto 45"/>
          <p:cNvSpPr txBox="1"/>
          <p:nvPr/>
        </p:nvSpPr>
        <p:spPr>
          <a:xfrm>
            <a:off x="1044599" y="2822830"/>
            <a:ext cx="349286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ild</a:t>
            </a: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&amp; </a:t>
            </a:r>
            <a:r>
              <a:rPr kumimoji="0" lang="es-MX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inforce</a:t>
            </a: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MX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</a:t>
            </a: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MX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able</a:t>
            </a:r>
            <a:r>
              <a:rPr kumimoji="0" lang="es-MX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MX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abit</a:t>
            </a:r>
            <a:r>
              <a:rPr kumimoji="0" lang="es-MX" sz="2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MX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rough</a:t>
            </a: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MX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lly</a:t>
            </a: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MX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grated</a:t>
            </a: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360 </a:t>
            </a:r>
            <a:r>
              <a:rPr kumimoji="0" lang="es-MX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ans</a:t>
            </a: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MX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</a:t>
            </a: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MX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ll</a:t>
            </a:r>
            <a:r>
              <a:rPr kumimoji="0" lang="es-MX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s-MX" sz="2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keholders</a:t>
            </a:r>
            <a:endParaRPr kumimoji="0" lang="es-MX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7" name="Rectángulo 46"/>
          <p:cNvSpPr/>
          <p:nvPr/>
        </p:nvSpPr>
        <p:spPr>
          <a:xfrm>
            <a:off x="4705715" y="2682555"/>
            <a:ext cx="83241" cy="16383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548830" flipH="1">
            <a:off x="6278453" y="1659988"/>
            <a:ext cx="868565" cy="909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3260411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53">
            <a:extLst>
              <a:ext uri="{FF2B5EF4-FFF2-40B4-BE49-F238E27FC236}">
                <a16:creationId xmlns:a16="http://schemas.microsoft.com/office/drawing/2014/main" id="{1A833673-8EE0-4E78-AEDE-3DB94EFB5E0A}"/>
              </a:ext>
            </a:extLst>
          </p:cNvPr>
          <p:cNvSpPr txBox="1"/>
          <p:nvPr/>
        </p:nvSpPr>
        <p:spPr>
          <a:xfrm>
            <a:off x="1226061" y="474258"/>
            <a:ext cx="755217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3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gaging all players through </a:t>
            </a:r>
          </a:p>
        </p:txBody>
      </p:sp>
      <p:sp>
        <p:nvSpPr>
          <p:cNvPr id="5" name="CuadroTexto 4"/>
          <p:cNvSpPr txBox="1"/>
          <p:nvPr/>
        </p:nvSpPr>
        <p:spPr>
          <a:xfrm>
            <a:off x="1230157" y="942365"/>
            <a:ext cx="62313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 full 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60°</a:t>
            </a:r>
            <a:r>
              <a:rPr kumimoji="0" lang="en-US" sz="2400" b="1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returnable and affordability plan</a:t>
            </a: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590" y="426437"/>
            <a:ext cx="719328" cy="719328"/>
          </a:xfrm>
          <a:prstGeom prst="rect">
            <a:avLst/>
          </a:prstGeom>
        </p:spPr>
      </p:pic>
      <p:pic>
        <p:nvPicPr>
          <p:cNvPr id="7" name="Imagen 2" descr="unidades-01.png">
            <a:extLst>
              <a:ext uri="{FF2B5EF4-FFF2-40B4-BE49-F238E27FC236}">
                <a16:creationId xmlns:a16="http://schemas.microsoft.com/office/drawing/2014/main" id="{E07F2BB0-DED3-4058-AC05-619E08AE20A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773" t="16266" r="23060" b="13847"/>
          <a:stretch/>
        </p:blipFill>
        <p:spPr>
          <a:xfrm>
            <a:off x="3810821" y="2095634"/>
            <a:ext cx="3778513" cy="3767078"/>
          </a:xfrm>
          <a:prstGeom prst="rect">
            <a:avLst/>
          </a:prstGeom>
        </p:spPr>
      </p:pic>
      <p:grpSp>
        <p:nvGrpSpPr>
          <p:cNvPr id="10" name="Agrupar 9"/>
          <p:cNvGrpSpPr/>
          <p:nvPr/>
        </p:nvGrpSpPr>
        <p:grpSpPr>
          <a:xfrm>
            <a:off x="4536295" y="2815391"/>
            <a:ext cx="2327564" cy="2327564"/>
            <a:chOff x="4963807" y="2858080"/>
            <a:chExt cx="1351212" cy="1351213"/>
          </a:xfrm>
        </p:grpSpPr>
        <p:sp>
          <p:nvSpPr>
            <p:cNvPr id="11" name="Elipse 10"/>
            <p:cNvSpPr/>
            <p:nvPr/>
          </p:nvSpPr>
          <p:spPr>
            <a:xfrm>
              <a:off x="4963807" y="2858080"/>
              <a:ext cx="1351212" cy="135121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254000" dist="12700" dir="2700000" sx="105000" sy="105000" algn="tl" rotWithShape="0">
                <a:schemeClr val="tx1">
                  <a:lumMod val="75000"/>
                  <a:lumOff val="25000"/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2" name="Imagen 11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224242" y="3066054"/>
              <a:ext cx="868195" cy="934381"/>
            </a:xfrm>
            <a:prstGeom prst="rect">
              <a:avLst/>
            </a:prstGeom>
          </p:spPr>
        </p:pic>
      </p:grpSp>
      <p:sp>
        <p:nvSpPr>
          <p:cNvPr id="14" name="CuadroTexto 13"/>
          <p:cNvSpPr txBox="1"/>
          <p:nvPr/>
        </p:nvSpPr>
        <p:spPr>
          <a:xfrm>
            <a:off x="5423760" y="4145625"/>
            <a:ext cx="6367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60º</a:t>
            </a:r>
          </a:p>
        </p:txBody>
      </p:sp>
      <p:sp>
        <p:nvSpPr>
          <p:cNvPr id="15" name="TextBox 39">
            <a:extLst>
              <a:ext uri="{FF2B5EF4-FFF2-40B4-BE49-F238E27FC236}">
                <a16:creationId xmlns:a16="http://schemas.microsoft.com/office/drawing/2014/main" id="{6E2FDD36-F945-4004-8889-E08702B7AFD3}"/>
              </a:ext>
            </a:extLst>
          </p:cNvPr>
          <p:cNvSpPr txBox="1"/>
          <p:nvPr/>
        </p:nvSpPr>
        <p:spPr>
          <a:xfrm rot="16200000">
            <a:off x="-856380" y="4978720"/>
            <a:ext cx="23161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rease Transactions</a:t>
            </a:r>
          </a:p>
        </p:txBody>
      </p:sp>
      <p:sp>
        <p:nvSpPr>
          <p:cNvPr id="16" name="TextBox 40">
            <a:extLst>
              <a:ext uri="{FF2B5EF4-FFF2-40B4-BE49-F238E27FC236}">
                <a16:creationId xmlns:a16="http://schemas.microsoft.com/office/drawing/2014/main" id="{F6E52A26-7427-4CA5-8A1A-D6DBC0EA4925}"/>
              </a:ext>
            </a:extLst>
          </p:cNvPr>
          <p:cNvSpPr txBox="1"/>
          <p:nvPr/>
        </p:nvSpPr>
        <p:spPr>
          <a:xfrm>
            <a:off x="10192973" y="6358046"/>
            <a:ext cx="16579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crease Profit</a:t>
            </a:r>
          </a:p>
        </p:txBody>
      </p:sp>
      <p:cxnSp>
        <p:nvCxnSpPr>
          <p:cNvPr id="17" name="Conector recto de flecha 16"/>
          <p:cNvCxnSpPr/>
          <p:nvPr/>
        </p:nvCxnSpPr>
        <p:spPr>
          <a:xfrm flipV="1">
            <a:off x="64799" y="3511296"/>
            <a:ext cx="0" cy="3237052"/>
          </a:xfrm>
          <a:prstGeom prst="straightConnector1">
            <a:avLst/>
          </a:prstGeom>
          <a:ln w="50800">
            <a:solidFill>
              <a:schemeClr val="bg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cto de flecha 17"/>
          <p:cNvCxnSpPr/>
          <p:nvPr/>
        </p:nvCxnSpPr>
        <p:spPr>
          <a:xfrm>
            <a:off x="64799" y="6748348"/>
            <a:ext cx="11938015" cy="0"/>
          </a:xfrm>
          <a:prstGeom prst="straightConnector1">
            <a:avLst/>
          </a:prstGeom>
          <a:ln w="50800">
            <a:solidFill>
              <a:schemeClr val="bg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Agrupar 24"/>
          <p:cNvGrpSpPr/>
          <p:nvPr/>
        </p:nvGrpSpPr>
        <p:grpSpPr>
          <a:xfrm>
            <a:off x="1486576" y="3635969"/>
            <a:ext cx="2182686" cy="1553482"/>
            <a:chOff x="1812395" y="3635969"/>
            <a:chExt cx="2182686" cy="1553482"/>
          </a:xfrm>
        </p:grpSpPr>
        <p:sp>
          <p:nvSpPr>
            <p:cNvPr id="21" name="Rectangle 3">
              <a:extLst>
                <a:ext uri="{FF2B5EF4-FFF2-40B4-BE49-F238E27FC236}">
                  <a16:creationId xmlns:a16="http://schemas.microsoft.com/office/drawing/2014/main" id="{C9AB8482-8C84-4FB9-A5CF-EF9C394855BB}"/>
                </a:ext>
              </a:extLst>
            </p:cNvPr>
            <p:cNvSpPr/>
            <p:nvPr/>
          </p:nvSpPr>
          <p:spPr>
            <a:xfrm>
              <a:off x="1952423" y="4019900"/>
              <a:ext cx="2042658" cy="11695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Introducing a 4-tier plan: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00"/>
                </a:buClr>
                <a:buSzPct val="90000"/>
                <a:buFont typeface="Wingdings" charset="2"/>
                <a:buChar char="ü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tailer Incentives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00"/>
                </a:buClr>
                <a:buSzPct val="90000"/>
                <a:buFont typeface="Wingdings" charset="2"/>
                <a:buChar char="ü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Loyalty programs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00"/>
                </a:buClr>
                <a:buSzPct val="90000"/>
                <a:buFont typeface="Wingdings" charset="2"/>
                <a:buChar char="ü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Visibility Drive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00"/>
                </a:buClr>
                <a:buSzPct val="90000"/>
                <a:buFont typeface="Wingdings" charset="2"/>
                <a:buChar char="ü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raining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CuadroTexto 22"/>
            <p:cNvSpPr txBox="1"/>
            <p:nvPr/>
          </p:nvSpPr>
          <p:spPr>
            <a:xfrm>
              <a:off x="1952422" y="3635969"/>
              <a:ext cx="101521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Calibri" panose="020F0502020204030204"/>
                  <a:ea typeface="ヒラギノ角ゴ ProN W3" charset="0"/>
                  <a:cs typeface="ヒラギノ角ゴ ProN W3" charset="0"/>
                  <a:sym typeface="Gill Sans" charset="0"/>
                </a:rPr>
                <a:t>Retailers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sp>
          <p:nvSpPr>
            <p:cNvPr id="24" name="Rectángulo 23"/>
            <p:cNvSpPr/>
            <p:nvPr/>
          </p:nvSpPr>
          <p:spPr>
            <a:xfrm>
              <a:off x="1812395" y="3683693"/>
              <a:ext cx="63690" cy="146740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6" name="Agrupar 25"/>
          <p:cNvGrpSpPr/>
          <p:nvPr/>
        </p:nvGrpSpPr>
        <p:grpSpPr>
          <a:xfrm>
            <a:off x="7848767" y="4330291"/>
            <a:ext cx="3201650" cy="1788077"/>
            <a:chOff x="1812395" y="3635969"/>
            <a:chExt cx="3201650" cy="1788077"/>
          </a:xfrm>
        </p:grpSpPr>
        <p:sp>
          <p:nvSpPr>
            <p:cNvPr id="27" name="Rectangle 3">
              <a:extLst>
                <a:ext uri="{FF2B5EF4-FFF2-40B4-BE49-F238E27FC236}">
                  <a16:creationId xmlns:a16="http://schemas.microsoft.com/office/drawing/2014/main" id="{C9AB8482-8C84-4FB9-A5CF-EF9C394855BB}"/>
                </a:ext>
              </a:extLst>
            </p:cNvPr>
            <p:cNvSpPr/>
            <p:nvPr/>
          </p:nvSpPr>
          <p:spPr>
            <a:xfrm>
              <a:off x="1952423" y="4019900"/>
              <a:ext cx="3061622" cy="13849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Motivating Sales &amp; Distribution Teams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00"/>
                </a:buClr>
                <a:buSzPct val="90000"/>
                <a:buFont typeface="Wingdings" charset="2"/>
                <a:buChar char="ü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ales force incentives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00"/>
                </a:buClr>
                <a:buSzPct val="90000"/>
                <a:buFont typeface="Wingdings" charset="2"/>
                <a:buChar char="ü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Distribution awards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00"/>
                </a:buClr>
                <a:buSzPct val="90000"/>
                <a:buFont typeface="Wingdings" charset="2"/>
                <a:buChar char="ü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raining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00"/>
                </a:buClr>
                <a:buSzPct val="90000"/>
                <a:buFont typeface="Wingdings" charset="2"/>
                <a:buChar char="ü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ols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00"/>
                </a:buClr>
                <a:buSzPct val="90000"/>
                <a:buFont typeface="Wingdings" charset="2"/>
                <a:buChar char="ü"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rade MKT</a:t>
              </a:r>
            </a:p>
          </p:txBody>
        </p:sp>
        <p:sp>
          <p:nvSpPr>
            <p:cNvPr id="28" name="CuadroTexto 27"/>
            <p:cNvSpPr txBox="1"/>
            <p:nvPr/>
          </p:nvSpPr>
          <p:spPr>
            <a:xfrm>
              <a:off x="1952422" y="3635969"/>
              <a:ext cx="210128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00"/>
                  </a:solidFill>
                  <a:effectLst/>
                  <a:uLnTx/>
                  <a:uFillTx/>
                  <a:latin typeface="Calibri" panose="020F0502020204030204"/>
                  <a:ea typeface="ヒラギノ角ゴ ProN W3" charset="0"/>
                  <a:cs typeface="ヒラギノ角ゴ ProN W3" charset="0"/>
                  <a:sym typeface="Gill Sans" charset="0"/>
                </a:rPr>
                <a:t>System Engagement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sp>
          <p:nvSpPr>
            <p:cNvPr id="29" name="Rectángulo 28"/>
            <p:cNvSpPr/>
            <p:nvPr/>
          </p:nvSpPr>
          <p:spPr>
            <a:xfrm>
              <a:off x="1812395" y="3648488"/>
              <a:ext cx="63690" cy="177555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30" name="Agrupar 29"/>
          <p:cNvGrpSpPr/>
          <p:nvPr/>
        </p:nvGrpSpPr>
        <p:grpSpPr>
          <a:xfrm>
            <a:off x="8077580" y="1681989"/>
            <a:ext cx="2377378" cy="1553482"/>
            <a:chOff x="1812395" y="3635969"/>
            <a:chExt cx="2377378" cy="1553482"/>
          </a:xfrm>
        </p:grpSpPr>
        <p:sp>
          <p:nvSpPr>
            <p:cNvPr id="31" name="Rectangle 3">
              <a:extLst>
                <a:ext uri="{FF2B5EF4-FFF2-40B4-BE49-F238E27FC236}">
                  <a16:creationId xmlns:a16="http://schemas.microsoft.com/office/drawing/2014/main" id="{C9AB8482-8C84-4FB9-A5CF-EF9C394855BB}"/>
                </a:ext>
              </a:extLst>
            </p:cNvPr>
            <p:cNvSpPr/>
            <p:nvPr/>
          </p:nvSpPr>
          <p:spPr>
            <a:xfrm>
              <a:off x="1952423" y="4019900"/>
              <a:ext cx="2237350" cy="11695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utstanding Communication and Promotional Platform for </a:t>
              </a: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ET </a:t>
              </a:r>
              <a:r>
                <a:rPr kumimoji="0" lang="en-US" sz="14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icOS</a:t>
              </a: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at PO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E82101"/>
                </a:buClr>
                <a:buSzTx/>
                <a:buFontTx/>
                <a:buNone/>
                <a:tabLst/>
                <a:defRPr/>
              </a:pPr>
              <a:endPara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2" name="CuadroTexto 31"/>
            <p:cNvSpPr txBox="1"/>
            <p:nvPr/>
          </p:nvSpPr>
          <p:spPr>
            <a:xfrm>
              <a:off x="1952422" y="3635969"/>
              <a:ext cx="107317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E82101"/>
                  </a:solidFill>
                  <a:effectLst/>
                  <a:uLnTx/>
                  <a:uFillTx/>
                  <a:latin typeface="Calibri" panose="020F0502020204030204"/>
                  <a:ea typeface="ヒラギノ角ゴ ProN W3" charset="0"/>
                  <a:cs typeface="ヒラギノ角ゴ ProN W3" charset="0"/>
                  <a:sym typeface="Gill Sans" charset="0"/>
                </a:rPr>
                <a:t>Shoppers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ヒラギノ角ゴ ProN W3" charset="0"/>
                <a:cs typeface="ヒラギノ角ゴ ProN W3" charset="0"/>
                <a:sym typeface="Gill Sans" charset="0"/>
              </a:endParaRPr>
            </a:p>
          </p:txBody>
        </p:sp>
        <p:sp>
          <p:nvSpPr>
            <p:cNvPr id="33" name="Rectángulo 32"/>
            <p:cNvSpPr/>
            <p:nvPr/>
          </p:nvSpPr>
          <p:spPr>
            <a:xfrm>
              <a:off x="1812395" y="3658953"/>
              <a:ext cx="63690" cy="1334004"/>
            </a:xfrm>
            <a:prstGeom prst="rect">
              <a:avLst/>
            </a:prstGeom>
            <a:solidFill>
              <a:srgbClr val="E821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8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6079438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9657B887-B727-4443-B7BD-E49A205328ED}"/>
              </a:ext>
            </a:extLst>
          </p:cNvPr>
          <p:cNvSpPr/>
          <p:nvPr/>
        </p:nvSpPr>
        <p:spPr>
          <a:xfrm>
            <a:off x="0" y="0"/>
            <a:ext cx="12202510" cy="6885734"/>
          </a:xfrm>
          <a:prstGeom prst="rect">
            <a:avLst/>
          </a:prstGeom>
          <a:solidFill>
            <a:srgbClr val="EE33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05A30B7-9449-1D4B-B077-2D7AE7A0F00E}"/>
              </a:ext>
            </a:extLst>
          </p:cNvPr>
          <p:cNvSpPr txBox="1"/>
          <p:nvPr/>
        </p:nvSpPr>
        <p:spPr>
          <a:xfrm>
            <a:off x="3996946" y="3075057"/>
            <a:ext cx="419810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000" spc="300" dirty="0">
                <a:solidFill>
                  <a:schemeClr val="bg1"/>
                </a:solidFill>
                <a:latin typeface="Gotham" panose="02000504050000020004" pitchFamily="2" charset="0"/>
              </a:rPr>
              <a:t>THANK YOU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4918F26-4636-BD4B-9410-91DB182C13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47690" y="4086735"/>
            <a:ext cx="1896619" cy="595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731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TextBox 60">
            <a:extLst>
              <a:ext uri="{FF2B5EF4-FFF2-40B4-BE49-F238E27FC236}">
                <a16:creationId xmlns:a16="http://schemas.microsoft.com/office/drawing/2014/main" id="{6B5B386D-1C45-4B79-B7A4-AC4981CBED65}"/>
              </a:ext>
            </a:extLst>
          </p:cNvPr>
          <p:cNvSpPr txBox="1"/>
          <p:nvPr/>
        </p:nvSpPr>
        <p:spPr>
          <a:xfrm>
            <a:off x="113408" y="216180"/>
            <a:ext cx="1127464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1" kern="0">
                <a:solidFill>
                  <a:srgbClr val="E82101"/>
                </a:solidFill>
                <a:latin typeface="Calibri" panose="020F0502020204030204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0" cap="none" spc="0" normalizeH="0" baseline="0" noProof="0" dirty="0" err="1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Returnables</a:t>
            </a:r>
            <a:r>
              <a:rPr kumimoji="0" lang="en-US" sz="4000" b="1" i="0" u="none" strike="noStrike" kern="0" cap="none" spc="0" normalizeH="0" baseline="0" noProof="0" dirty="0">
                <a:ln>
                  <a:noFill/>
                </a:ln>
                <a:solidFill>
                  <a:srgbClr val="E82101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itchFamily="34" charset="0"/>
              </a:rPr>
              <a:t> play a strategic Role in our Business</a:t>
            </a:r>
          </a:p>
        </p:txBody>
      </p:sp>
      <p:sp>
        <p:nvSpPr>
          <p:cNvPr id="4" name="Rectángulo redondeado 7">
            <a:extLst>
              <a:ext uri="{FF2B5EF4-FFF2-40B4-BE49-F238E27FC236}">
                <a16:creationId xmlns:a16="http://schemas.microsoft.com/office/drawing/2014/main" id="{6549A35C-F7CF-46FB-B1FC-791F5BBA9662}"/>
              </a:ext>
            </a:extLst>
          </p:cNvPr>
          <p:cNvSpPr/>
          <p:nvPr/>
        </p:nvSpPr>
        <p:spPr>
          <a:xfrm>
            <a:off x="456437" y="1211135"/>
            <a:ext cx="11274640" cy="5054198"/>
          </a:xfrm>
          <a:prstGeom prst="roundRect">
            <a:avLst>
              <a:gd name="adj" fmla="val 6252"/>
            </a:avLst>
          </a:prstGeom>
          <a:solidFill>
            <a:schemeClr val="bg1"/>
          </a:solidFill>
          <a:ln>
            <a:noFill/>
          </a:ln>
          <a:effectLst>
            <a:outerShdw blurRad="254000" dist="38100" dir="2700000" sx="102000" sy="102000" algn="tl" rotWithShape="0">
              <a:schemeClr val="tx1">
                <a:lumMod val="75000"/>
                <a:lumOff val="2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1DB22939-02A1-4529-B168-E8ED92D53F58}"/>
              </a:ext>
            </a:extLst>
          </p:cNvPr>
          <p:cNvSpPr/>
          <p:nvPr/>
        </p:nvSpPr>
        <p:spPr>
          <a:xfrm>
            <a:off x="6305260" y="2929059"/>
            <a:ext cx="2999221" cy="42639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65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746A3D4E-A5AA-4A05-8983-4AB25D6725CF}"/>
              </a:ext>
            </a:extLst>
          </p:cNvPr>
          <p:cNvSpPr/>
          <p:nvPr/>
        </p:nvSpPr>
        <p:spPr>
          <a:xfrm>
            <a:off x="2542352" y="2929059"/>
            <a:ext cx="2999221" cy="42639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65"/>
          </a:p>
        </p:txBody>
      </p:sp>
      <p:sp>
        <p:nvSpPr>
          <p:cNvPr id="81" name="フリーフォーム 32">
            <a:extLst>
              <a:ext uri="{FF2B5EF4-FFF2-40B4-BE49-F238E27FC236}">
                <a16:creationId xmlns:a16="http://schemas.microsoft.com/office/drawing/2014/main" id="{3FDC2905-EB96-407F-91F2-B0C36474E65E}"/>
              </a:ext>
            </a:extLst>
          </p:cNvPr>
          <p:cNvSpPr/>
          <p:nvPr/>
        </p:nvSpPr>
        <p:spPr>
          <a:xfrm rot="2700000">
            <a:off x="2857879" y="1414908"/>
            <a:ext cx="1457590" cy="1310063"/>
          </a:xfrm>
          <a:custGeom>
            <a:avLst/>
            <a:gdLst>
              <a:gd name="connsiteX0" fmla="*/ 1555422 w 5190503"/>
              <a:gd name="connsiteY0" fmla="*/ 742950 h 4665160"/>
              <a:gd name="connsiteX1" fmla="*/ 2298372 w 5190503"/>
              <a:gd name="connsiteY1" fmla="*/ 0 h 4665160"/>
              <a:gd name="connsiteX2" fmla="*/ 5190503 w 5190503"/>
              <a:gd name="connsiteY2" fmla="*/ 0 h 4665160"/>
              <a:gd name="connsiteX3" fmla="*/ 4465431 w 5190503"/>
              <a:gd name="connsiteY3" fmla="*/ 725072 h 4665160"/>
              <a:gd name="connsiteX4" fmla="*/ 4465432 w 5190503"/>
              <a:gd name="connsiteY4" fmla="*/ 725073 h 4665160"/>
              <a:gd name="connsiteX5" fmla="*/ 525345 w 5190503"/>
              <a:gd name="connsiteY5" fmla="*/ 4665160 h 4665160"/>
              <a:gd name="connsiteX6" fmla="*/ 0 w 5190503"/>
              <a:gd name="connsiteY6" fmla="*/ 4139815 h 4665160"/>
              <a:gd name="connsiteX7" fmla="*/ 3396865 w 5190503"/>
              <a:gd name="connsiteY7" fmla="*/ 742950 h 4665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90503" h="4665160">
                <a:moveTo>
                  <a:pt x="1555422" y="742950"/>
                </a:moveTo>
                <a:lnTo>
                  <a:pt x="2298372" y="0"/>
                </a:lnTo>
                <a:lnTo>
                  <a:pt x="5190503" y="0"/>
                </a:lnTo>
                <a:lnTo>
                  <a:pt x="4465431" y="725072"/>
                </a:lnTo>
                <a:lnTo>
                  <a:pt x="4465432" y="725073"/>
                </a:lnTo>
                <a:lnTo>
                  <a:pt x="525345" y="4665160"/>
                </a:lnTo>
                <a:lnTo>
                  <a:pt x="0" y="4139815"/>
                </a:lnTo>
                <a:lnTo>
                  <a:pt x="3396865" y="742950"/>
                </a:lnTo>
                <a:close/>
              </a:path>
            </a:pathLst>
          </a:cu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3960">
              <a:defRPr/>
            </a:pPr>
            <a:endParaRPr kumimoji="1" lang="ja-JP" altLang="en-US" sz="1898" kern="0">
              <a:solidFill>
                <a:prstClr val="white"/>
              </a:solidFill>
              <a:latin typeface="Roboto"/>
            </a:endParaRPr>
          </a:p>
        </p:txBody>
      </p:sp>
      <p:sp>
        <p:nvSpPr>
          <p:cNvPr id="82" name="フリーフォーム 37">
            <a:extLst>
              <a:ext uri="{FF2B5EF4-FFF2-40B4-BE49-F238E27FC236}">
                <a16:creationId xmlns:a16="http://schemas.microsoft.com/office/drawing/2014/main" id="{BB8418DB-AE30-462F-B0A4-D285B802A5CC}"/>
              </a:ext>
            </a:extLst>
          </p:cNvPr>
          <p:cNvSpPr/>
          <p:nvPr/>
        </p:nvSpPr>
        <p:spPr>
          <a:xfrm rot="2700000">
            <a:off x="2776790" y="1701768"/>
            <a:ext cx="2364023" cy="2124755"/>
          </a:xfrm>
          <a:custGeom>
            <a:avLst/>
            <a:gdLst>
              <a:gd name="connsiteX0" fmla="*/ 1555422 w 5190503"/>
              <a:gd name="connsiteY0" fmla="*/ 742950 h 4665160"/>
              <a:gd name="connsiteX1" fmla="*/ 2298372 w 5190503"/>
              <a:gd name="connsiteY1" fmla="*/ 0 h 4665160"/>
              <a:gd name="connsiteX2" fmla="*/ 5190503 w 5190503"/>
              <a:gd name="connsiteY2" fmla="*/ 0 h 4665160"/>
              <a:gd name="connsiteX3" fmla="*/ 4465431 w 5190503"/>
              <a:gd name="connsiteY3" fmla="*/ 725072 h 4665160"/>
              <a:gd name="connsiteX4" fmla="*/ 4465432 w 5190503"/>
              <a:gd name="connsiteY4" fmla="*/ 725073 h 4665160"/>
              <a:gd name="connsiteX5" fmla="*/ 525345 w 5190503"/>
              <a:gd name="connsiteY5" fmla="*/ 4665160 h 4665160"/>
              <a:gd name="connsiteX6" fmla="*/ 0 w 5190503"/>
              <a:gd name="connsiteY6" fmla="*/ 4139815 h 4665160"/>
              <a:gd name="connsiteX7" fmla="*/ 3396865 w 5190503"/>
              <a:gd name="connsiteY7" fmla="*/ 742950 h 4665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90503" h="4665160">
                <a:moveTo>
                  <a:pt x="1555422" y="742950"/>
                </a:moveTo>
                <a:lnTo>
                  <a:pt x="2298372" y="0"/>
                </a:lnTo>
                <a:lnTo>
                  <a:pt x="5190503" y="0"/>
                </a:lnTo>
                <a:lnTo>
                  <a:pt x="4465431" y="725072"/>
                </a:lnTo>
                <a:lnTo>
                  <a:pt x="4465432" y="725073"/>
                </a:lnTo>
                <a:lnTo>
                  <a:pt x="525345" y="4665160"/>
                </a:lnTo>
                <a:lnTo>
                  <a:pt x="0" y="4139815"/>
                </a:lnTo>
                <a:lnTo>
                  <a:pt x="3396865" y="742950"/>
                </a:lnTo>
                <a:close/>
              </a:path>
            </a:pathLst>
          </a:custGeom>
          <a:solidFill>
            <a:srgbClr val="F4050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3960">
              <a:defRPr/>
            </a:pPr>
            <a:endParaRPr kumimoji="1" lang="ja-JP" altLang="en-US" sz="1898" kern="0" dirty="0">
              <a:solidFill>
                <a:prstClr val="white"/>
              </a:solidFill>
              <a:latin typeface="Roboto"/>
            </a:endParaRPr>
          </a:p>
        </p:txBody>
      </p:sp>
      <p:sp>
        <p:nvSpPr>
          <p:cNvPr id="84" name="フリーフォーム 24">
            <a:extLst>
              <a:ext uri="{FF2B5EF4-FFF2-40B4-BE49-F238E27FC236}">
                <a16:creationId xmlns:a16="http://schemas.microsoft.com/office/drawing/2014/main" id="{7A406647-8B88-4F7E-94DB-058E5864CC55}"/>
              </a:ext>
            </a:extLst>
          </p:cNvPr>
          <p:cNvSpPr/>
          <p:nvPr/>
        </p:nvSpPr>
        <p:spPr>
          <a:xfrm rot="2700000">
            <a:off x="6545749" y="1715657"/>
            <a:ext cx="2364023" cy="2124755"/>
          </a:xfrm>
          <a:custGeom>
            <a:avLst/>
            <a:gdLst>
              <a:gd name="connsiteX0" fmla="*/ 1555422 w 5190503"/>
              <a:gd name="connsiteY0" fmla="*/ 742950 h 4665160"/>
              <a:gd name="connsiteX1" fmla="*/ 2298372 w 5190503"/>
              <a:gd name="connsiteY1" fmla="*/ 0 h 4665160"/>
              <a:gd name="connsiteX2" fmla="*/ 5190503 w 5190503"/>
              <a:gd name="connsiteY2" fmla="*/ 0 h 4665160"/>
              <a:gd name="connsiteX3" fmla="*/ 4465431 w 5190503"/>
              <a:gd name="connsiteY3" fmla="*/ 725072 h 4665160"/>
              <a:gd name="connsiteX4" fmla="*/ 4465432 w 5190503"/>
              <a:gd name="connsiteY4" fmla="*/ 725073 h 4665160"/>
              <a:gd name="connsiteX5" fmla="*/ 525345 w 5190503"/>
              <a:gd name="connsiteY5" fmla="*/ 4665160 h 4665160"/>
              <a:gd name="connsiteX6" fmla="*/ 0 w 5190503"/>
              <a:gd name="connsiteY6" fmla="*/ 4139815 h 4665160"/>
              <a:gd name="connsiteX7" fmla="*/ 3396865 w 5190503"/>
              <a:gd name="connsiteY7" fmla="*/ 742950 h 4665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90503" h="4665160">
                <a:moveTo>
                  <a:pt x="1555422" y="742950"/>
                </a:moveTo>
                <a:lnTo>
                  <a:pt x="2298372" y="0"/>
                </a:lnTo>
                <a:lnTo>
                  <a:pt x="5190503" y="0"/>
                </a:lnTo>
                <a:lnTo>
                  <a:pt x="4465431" y="725072"/>
                </a:lnTo>
                <a:lnTo>
                  <a:pt x="4465432" y="725073"/>
                </a:lnTo>
                <a:lnTo>
                  <a:pt x="525345" y="4665160"/>
                </a:lnTo>
                <a:lnTo>
                  <a:pt x="0" y="4139815"/>
                </a:lnTo>
                <a:lnTo>
                  <a:pt x="3396865" y="742950"/>
                </a:lnTo>
                <a:close/>
              </a:path>
            </a:pathLst>
          </a:custGeom>
          <a:solidFill>
            <a:srgbClr val="F33B4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3960">
              <a:defRPr/>
            </a:pPr>
            <a:endParaRPr kumimoji="1" lang="ja-JP" altLang="en-US" sz="1898" kern="0" dirty="0">
              <a:solidFill>
                <a:prstClr val="white"/>
              </a:solidFill>
              <a:latin typeface="Roboto"/>
            </a:endParaRPr>
          </a:p>
        </p:txBody>
      </p:sp>
      <p:sp>
        <p:nvSpPr>
          <p:cNvPr id="89" name="フリーフォーム 32">
            <a:extLst>
              <a:ext uri="{FF2B5EF4-FFF2-40B4-BE49-F238E27FC236}">
                <a16:creationId xmlns:a16="http://schemas.microsoft.com/office/drawing/2014/main" id="{95826232-BF5F-44BF-A4FF-F729D513C50C}"/>
              </a:ext>
            </a:extLst>
          </p:cNvPr>
          <p:cNvSpPr/>
          <p:nvPr/>
        </p:nvSpPr>
        <p:spPr>
          <a:xfrm rot="2700000">
            <a:off x="6349724" y="1460332"/>
            <a:ext cx="1457590" cy="1310063"/>
          </a:xfrm>
          <a:custGeom>
            <a:avLst/>
            <a:gdLst>
              <a:gd name="connsiteX0" fmla="*/ 1555422 w 5190503"/>
              <a:gd name="connsiteY0" fmla="*/ 742950 h 4665160"/>
              <a:gd name="connsiteX1" fmla="*/ 2298372 w 5190503"/>
              <a:gd name="connsiteY1" fmla="*/ 0 h 4665160"/>
              <a:gd name="connsiteX2" fmla="*/ 5190503 w 5190503"/>
              <a:gd name="connsiteY2" fmla="*/ 0 h 4665160"/>
              <a:gd name="connsiteX3" fmla="*/ 4465431 w 5190503"/>
              <a:gd name="connsiteY3" fmla="*/ 725072 h 4665160"/>
              <a:gd name="connsiteX4" fmla="*/ 4465432 w 5190503"/>
              <a:gd name="connsiteY4" fmla="*/ 725073 h 4665160"/>
              <a:gd name="connsiteX5" fmla="*/ 525345 w 5190503"/>
              <a:gd name="connsiteY5" fmla="*/ 4665160 h 4665160"/>
              <a:gd name="connsiteX6" fmla="*/ 0 w 5190503"/>
              <a:gd name="connsiteY6" fmla="*/ 4139815 h 4665160"/>
              <a:gd name="connsiteX7" fmla="*/ 3396865 w 5190503"/>
              <a:gd name="connsiteY7" fmla="*/ 742950 h 4665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90503" h="4665160">
                <a:moveTo>
                  <a:pt x="1555422" y="742950"/>
                </a:moveTo>
                <a:lnTo>
                  <a:pt x="2298372" y="0"/>
                </a:lnTo>
                <a:lnTo>
                  <a:pt x="5190503" y="0"/>
                </a:lnTo>
                <a:lnTo>
                  <a:pt x="4465431" y="725072"/>
                </a:lnTo>
                <a:lnTo>
                  <a:pt x="4465432" y="725073"/>
                </a:lnTo>
                <a:lnTo>
                  <a:pt x="525345" y="4665160"/>
                </a:lnTo>
                <a:lnTo>
                  <a:pt x="0" y="4139815"/>
                </a:lnTo>
                <a:lnTo>
                  <a:pt x="3396865" y="742950"/>
                </a:lnTo>
                <a:close/>
              </a:path>
            </a:pathLst>
          </a:cu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63960">
              <a:defRPr/>
            </a:pPr>
            <a:endParaRPr kumimoji="1" lang="ja-JP" altLang="en-US" sz="1898" kern="0">
              <a:solidFill>
                <a:prstClr val="white"/>
              </a:solidFill>
              <a:latin typeface="Roboto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F989C5AD-4C91-48E0-A1B7-904F047891BD}"/>
              </a:ext>
            </a:extLst>
          </p:cNvPr>
          <p:cNvSpPr txBox="1"/>
          <p:nvPr/>
        </p:nvSpPr>
        <p:spPr>
          <a:xfrm>
            <a:off x="2578053" y="2536666"/>
            <a:ext cx="2089048" cy="286873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r"/>
            <a:r>
              <a:rPr lang="en-US" sz="1264" dirty="0">
                <a:solidFill>
                  <a:schemeClr val="lt1"/>
                </a:solidFill>
                <a:latin typeface="TCCC-UnityTextPC" panose="020B0505030303020204" pitchFamily="34" charset="0"/>
                <a:ea typeface="Arial"/>
                <a:cs typeface="Arial"/>
                <a:sym typeface="Arial"/>
              </a:rPr>
              <a:t> CONSUMER LOYALTY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95F953E8-61E2-4CAE-B9D9-4649F60EDDAF}"/>
              </a:ext>
            </a:extLst>
          </p:cNvPr>
          <p:cNvSpPr txBox="1"/>
          <p:nvPr/>
        </p:nvSpPr>
        <p:spPr>
          <a:xfrm>
            <a:off x="6342965" y="2554516"/>
            <a:ext cx="2108876" cy="286873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r"/>
            <a:r>
              <a:rPr lang="en-US" sz="1264" dirty="0">
                <a:solidFill>
                  <a:schemeClr val="lt1"/>
                </a:solidFill>
                <a:latin typeface="TCCC-UnityTextPC" panose="020B0505030303020204" pitchFamily="34" charset="0"/>
                <a:ea typeface="Arial"/>
                <a:cs typeface="Arial"/>
                <a:sym typeface="Arial"/>
              </a:rPr>
              <a:t> COMPETITIVE TOOL</a:t>
            </a:r>
          </a:p>
        </p:txBody>
      </p:sp>
      <p:sp>
        <p:nvSpPr>
          <p:cNvPr id="93" name="Google Shape;4139;p6">
            <a:extLst>
              <a:ext uri="{FF2B5EF4-FFF2-40B4-BE49-F238E27FC236}">
                <a16:creationId xmlns:a16="http://schemas.microsoft.com/office/drawing/2014/main" id="{D84206D3-66EF-4CEC-9191-7516ECB2A63B}"/>
              </a:ext>
            </a:extLst>
          </p:cNvPr>
          <p:cNvSpPr txBox="1"/>
          <p:nvPr/>
        </p:nvSpPr>
        <p:spPr>
          <a:xfrm>
            <a:off x="6362793" y="2962583"/>
            <a:ext cx="2941295" cy="1864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3300" rIns="0" bIns="0" anchor="t" anchorCtr="0">
            <a:spAutoFit/>
          </a:bodyPr>
          <a:lstStyle/>
          <a:p>
            <a:pPr marL="32353" marR="5074" indent="-20299" algn="ctr">
              <a:buClr>
                <a:srgbClr val="000000"/>
              </a:buClr>
              <a:buSzPts val="1599"/>
            </a:pPr>
            <a:r>
              <a:rPr lang="en-US" sz="1124" dirty="0">
                <a:solidFill>
                  <a:schemeClr val="bg1"/>
                </a:solidFill>
                <a:latin typeface="TCCC-UnityTextPC" panose="020B0505030303020204" pitchFamily="34" charset="0"/>
                <a:ea typeface="Tahoma"/>
                <a:cs typeface="Tahoma"/>
                <a:sym typeface="Tahoma"/>
              </a:rPr>
              <a:t>RETURNABLES ARE A DIFFERENTIATOR</a:t>
            </a:r>
          </a:p>
        </p:txBody>
      </p:sp>
      <p:sp>
        <p:nvSpPr>
          <p:cNvPr id="95" name="Google Shape;4158;p6">
            <a:extLst>
              <a:ext uri="{FF2B5EF4-FFF2-40B4-BE49-F238E27FC236}">
                <a16:creationId xmlns:a16="http://schemas.microsoft.com/office/drawing/2014/main" id="{5C271FA5-13F0-4D59-B6B2-DC8EE6DE5399}"/>
              </a:ext>
            </a:extLst>
          </p:cNvPr>
          <p:cNvSpPr txBox="1"/>
          <p:nvPr/>
        </p:nvSpPr>
        <p:spPr>
          <a:xfrm>
            <a:off x="2578053" y="2962583"/>
            <a:ext cx="2972023" cy="3594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3300" rIns="0" bIns="0" anchor="t" anchorCtr="0">
            <a:spAutoFit/>
          </a:bodyPr>
          <a:lstStyle/>
          <a:p>
            <a:pPr marL="12688" marR="5074" indent="97062" algn="ctr">
              <a:buClr>
                <a:srgbClr val="000000"/>
              </a:buClr>
              <a:buSzPts val="1599"/>
            </a:pPr>
            <a:r>
              <a:rPr lang="en-US" sz="1124" dirty="0">
                <a:solidFill>
                  <a:schemeClr val="bg1"/>
                </a:solidFill>
                <a:latin typeface="TCCC-UnityTextPC" panose="020B0505030303020204" pitchFamily="34" charset="0"/>
                <a:ea typeface="Tahoma"/>
                <a:cs typeface="Tahoma"/>
                <a:sym typeface="Tahoma"/>
              </a:rPr>
              <a:t>RETURNABLES DRIVE  BUSINESS GROWTH</a:t>
            </a:r>
          </a:p>
        </p:txBody>
      </p:sp>
      <p:sp>
        <p:nvSpPr>
          <p:cNvPr id="96" name="Google Shape;4155;p6">
            <a:extLst>
              <a:ext uri="{FF2B5EF4-FFF2-40B4-BE49-F238E27FC236}">
                <a16:creationId xmlns:a16="http://schemas.microsoft.com/office/drawing/2014/main" id="{A42707DE-7316-4BEB-BF40-20378FC2FB6F}"/>
              </a:ext>
            </a:extLst>
          </p:cNvPr>
          <p:cNvSpPr txBox="1"/>
          <p:nvPr/>
        </p:nvSpPr>
        <p:spPr>
          <a:xfrm>
            <a:off x="6368528" y="3711565"/>
            <a:ext cx="2999221" cy="2080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3300" rIns="0" bIns="0" anchor="t" anchorCtr="0">
            <a:spAutoFit/>
          </a:bodyPr>
          <a:lstStyle/>
          <a:p>
            <a:pPr marR="5074">
              <a:buClr>
                <a:srgbClr val="000000"/>
              </a:buClr>
              <a:buSzPts val="1599"/>
            </a:pPr>
            <a:r>
              <a:rPr lang="en-US" sz="1265" spc="-32" dirty="0">
                <a:solidFill>
                  <a:srgbClr val="34454F"/>
                </a:solidFill>
                <a:latin typeface="TCCC-UnityTextPC"/>
                <a:sym typeface="Tahoma"/>
              </a:rPr>
              <a:t>High entry barriers to replicate model</a:t>
            </a:r>
          </a:p>
        </p:txBody>
      </p:sp>
      <p:sp>
        <p:nvSpPr>
          <p:cNvPr id="97" name="Google Shape;4156;p6">
            <a:extLst>
              <a:ext uri="{FF2B5EF4-FFF2-40B4-BE49-F238E27FC236}">
                <a16:creationId xmlns:a16="http://schemas.microsoft.com/office/drawing/2014/main" id="{29E5A5F5-EDFA-4617-85FE-25AB2457E190}"/>
              </a:ext>
            </a:extLst>
          </p:cNvPr>
          <p:cNvSpPr txBox="1"/>
          <p:nvPr/>
        </p:nvSpPr>
        <p:spPr>
          <a:xfrm>
            <a:off x="6368527" y="4477832"/>
            <a:ext cx="3014169" cy="2080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3300" rIns="0" bIns="0" anchor="t" anchorCtr="0">
            <a:spAutoFit/>
          </a:bodyPr>
          <a:lstStyle/>
          <a:p>
            <a:pPr marR="5074">
              <a:buClr>
                <a:srgbClr val="000000"/>
              </a:buClr>
              <a:buSzPts val="1599"/>
            </a:pPr>
            <a:r>
              <a:rPr lang="en-US" sz="1265" spc="-32" dirty="0">
                <a:solidFill>
                  <a:srgbClr val="34454F"/>
                </a:solidFill>
                <a:latin typeface="TCCC-UnityTextPC"/>
                <a:sym typeface="Tahoma"/>
              </a:rPr>
              <a:t>Enables OBPPC Strategy – One Way</a:t>
            </a:r>
            <a:endParaRPr sz="1265" spc="-32" dirty="0">
              <a:solidFill>
                <a:srgbClr val="34454F"/>
              </a:solidFill>
              <a:latin typeface="TCCC-UnityTextPC"/>
              <a:sym typeface="Tahoma"/>
            </a:endParaRPr>
          </a:p>
        </p:txBody>
      </p:sp>
      <p:sp>
        <p:nvSpPr>
          <p:cNvPr id="98" name="Google Shape;4157;p6">
            <a:extLst>
              <a:ext uri="{FF2B5EF4-FFF2-40B4-BE49-F238E27FC236}">
                <a16:creationId xmlns:a16="http://schemas.microsoft.com/office/drawing/2014/main" id="{211744C2-83E3-49DB-AF69-0F5FBBF05D46}"/>
              </a:ext>
            </a:extLst>
          </p:cNvPr>
          <p:cNvSpPr txBox="1"/>
          <p:nvPr/>
        </p:nvSpPr>
        <p:spPr>
          <a:xfrm>
            <a:off x="6368528" y="5244099"/>
            <a:ext cx="3014168" cy="4027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3300" rIns="0" bIns="0" anchor="t" anchorCtr="0">
            <a:spAutoFit/>
          </a:bodyPr>
          <a:lstStyle/>
          <a:p>
            <a:pPr marR="5074">
              <a:buClr>
                <a:srgbClr val="000000"/>
              </a:buClr>
              <a:buSzPts val="1599"/>
            </a:pPr>
            <a:r>
              <a:rPr lang="en-US" sz="1265" spc="-32" dirty="0">
                <a:solidFill>
                  <a:srgbClr val="34454F"/>
                </a:solidFill>
                <a:latin typeface="TCCC-UnityTextPC"/>
                <a:sym typeface="Tahoma"/>
              </a:rPr>
              <a:t>Hedge against raw materials price fluctuations</a:t>
            </a:r>
            <a:endParaRPr sz="1265" spc="-32" dirty="0">
              <a:solidFill>
                <a:srgbClr val="34454F"/>
              </a:solidFill>
              <a:latin typeface="TCCC-UnityTextPC"/>
              <a:sym typeface="Tahoma"/>
            </a:endParaRPr>
          </a:p>
        </p:txBody>
      </p:sp>
      <p:pic>
        <p:nvPicPr>
          <p:cNvPr id="99" name="Google Shape;4149;p6">
            <a:extLst>
              <a:ext uri="{FF2B5EF4-FFF2-40B4-BE49-F238E27FC236}">
                <a16:creationId xmlns:a16="http://schemas.microsoft.com/office/drawing/2014/main" id="{FB23553D-C25F-4DDD-92B7-B9DE1364D811}"/>
              </a:ext>
            </a:extLst>
          </p:cNvPr>
          <p:cNvPicPr preferRelativeResize="0"/>
          <p:nvPr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2534828" y="3718548"/>
            <a:ext cx="545548" cy="366759"/>
          </a:xfrm>
          <a:prstGeom prst="rect">
            <a:avLst/>
          </a:prstGeom>
          <a:noFill/>
          <a:ln>
            <a:noFill/>
          </a:ln>
        </p:spPr>
      </p:pic>
      <p:sp>
        <p:nvSpPr>
          <p:cNvPr id="100" name="Google Shape;4150;p6">
            <a:extLst>
              <a:ext uri="{FF2B5EF4-FFF2-40B4-BE49-F238E27FC236}">
                <a16:creationId xmlns:a16="http://schemas.microsoft.com/office/drawing/2014/main" id="{10ED1F74-9B52-4DE7-9B2D-FED983EA0AB2}"/>
              </a:ext>
            </a:extLst>
          </p:cNvPr>
          <p:cNvSpPr txBox="1"/>
          <p:nvPr/>
        </p:nvSpPr>
        <p:spPr>
          <a:xfrm>
            <a:off x="3240807" y="3711565"/>
            <a:ext cx="2159165" cy="4027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3300" rIns="0" bIns="0" anchor="t" anchorCtr="0">
            <a:spAutoFit/>
          </a:bodyPr>
          <a:lstStyle>
            <a:defPPr>
              <a:defRPr lang="en-US"/>
            </a:defPPr>
            <a:lvl1pPr marR="722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99"/>
              <a:buFont typeface="Arial"/>
              <a:buNone/>
              <a:defRPr spc="-45">
                <a:solidFill>
                  <a:srgbClr val="34454F"/>
                </a:solidFill>
                <a:latin typeface="TCCC-UnityTextPC"/>
              </a:defRPr>
            </a:lvl1pPr>
          </a:lstStyle>
          <a:p>
            <a:r>
              <a:rPr lang="en-US" sz="1265" dirty="0">
                <a:sym typeface="Tahoma"/>
              </a:rPr>
              <a:t>Accessible across  income levels</a:t>
            </a:r>
            <a:endParaRPr sz="1265" dirty="0">
              <a:sym typeface="Tahoma"/>
            </a:endParaRPr>
          </a:p>
        </p:txBody>
      </p:sp>
      <p:sp>
        <p:nvSpPr>
          <p:cNvPr id="101" name="Google Shape;4151;p6">
            <a:extLst>
              <a:ext uri="{FF2B5EF4-FFF2-40B4-BE49-F238E27FC236}">
                <a16:creationId xmlns:a16="http://schemas.microsoft.com/office/drawing/2014/main" id="{D7BE7DD1-910C-4F85-8FA0-DC76CA449C80}"/>
              </a:ext>
            </a:extLst>
          </p:cNvPr>
          <p:cNvSpPr txBox="1"/>
          <p:nvPr/>
        </p:nvSpPr>
        <p:spPr>
          <a:xfrm>
            <a:off x="3240807" y="4477832"/>
            <a:ext cx="1452512" cy="4027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3300" rIns="0" bIns="0" anchor="t" anchorCtr="0">
            <a:spAutoFit/>
          </a:bodyPr>
          <a:lstStyle>
            <a:defPPr>
              <a:defRPr lang="en-US"/>
            </a:defPPr>
            <a:lvl1pPr marR="722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99"/>
              <a:buFont typeface="Arial"/>
              <a:buNone/>
              <a:defRPr spc="-45">
                <a:solidFill>
                  <a:srgbClr val="34454F"/>
                </a:solidFill>
                <a:latin typeface="TCCC-UnityTextPC"/>
              </a:defRPr>
            </a:lvl1pPr>
          </a:lstStyle>
          <a:p>
            <a:r>
              <a:rPr lang="en-US" sz="1265" dirty="0">
                <a:sym typeface="Tahoma"/>
              </a:rPr>
              <a:t>Recruitment - Builds consumer  loyalty</a:t>
            </a:r>
            <a:endParaRPr sz="1265" dirty="0">
              <a:sym typeface="Tahoma"/>
            </a:endParaRPr>
          </a:p>
        </p:txBody>
      </p:sp>
      <p:sp>
        <p:nvSpPr>
          <p:cNvPr id="102" name="Google Shape;4152;p6">
            <a:extLst>
              <a:ext uri="{FF2B5EF4-FFF2-40B4-BE49-F238E27FC236}">
                <a16:creationId xmlns:a16="http://schemas.microsoft.com/office/drawing/2014/main" id="{A6C695CD-9697-4EE3-99A8-6788CB07329B}"/>
              </a:ext>
            </a:extLst>
          </p:cNvPr>
          <p:cNvSpPr txBox="1"/>
          <p:nvPr/>
        </p:nvSpPr>
        <p:spPr>
          <a:xfrm>
            <a:off x="3240807" y="5244099"/>
            <a:ext cx="2204643" cy="4027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3300" rIns="0" bIns="0" anchor="t" anchorCtr="0">
            <a:spAutoFit/>
          </a:bodyPr>
          <a:lstStyle>
            <a:defPPr>
              <a:defRPr lang="en-US"/>
            </a:defPPr>
            <a:lvl1pPr marR="7220"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99"/>
              <a:buFont typeface="Arial"/>
              <a:buNone/>
              <a:defRPr spc="-45">
                <a:solidFill>
                  <a:srgbClr val="34454F"/>
                </a:solidFill>
                <a:latin typeface="TCCC-UnityTextPC"/>
              </a:defRPr>
            </a:lvl1pPr>
          </a:lstStyle>
          <a:p>
            <a:r>
              <a:rPr lang="en-US" sz="1265" dirty="0">
                <a:sym typeface="Tahoma"/>
              </a:rPr>
              <a:t>Attracts environmental</a:t>
            </a:r>
            <a:endParaRPr sz="1265" dirty="0">
              <a:sym typeface="Tahoma"/>
            </a:endParaRPr>
          </a:p>
          <a:p>
            <a:r>
              <a:rPr lang="en-US" sz="1265" dirty="0">
                <a:sym typeface="Tahoma"/>
              </a:rPr>
              <a:t>conscious consumers</a:t>
            </a:r>
            <a:endParaRPr sz="1265" dirty="0">
              <a:sym typeface="Tahoma"/>
            </a:endParaRPr>
          </a:p>
        </p:txBody>
      </p:sp>
      <p:pic>
        <p:nvPicPr>
          <p:cNvPr id="103" name="Google Shape;4153;p6">
            <a:extLst>
              <a:ext uri="{FF2B5EF4-FFF2-40B4-BE49-F238E27FC236}">
                <a16:creationId xmlns:a16="http://schemas.microsoft.com/office/drawing/2014/main" id="{C164488A-3623-4DF1-A870-2F497C13A47C}"/>
              </a:ext>
            </a:extLst>
          </p:cNvPr>
          <p:cNvPicPr preferRelativeResize="0"/>
          <p:nvPr/>
        </p:nvPicPr>
        <p:blipFill rotWithShape="1"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rcRect/>
          <a:stretch/>
        </p:blipFill>
        <p:spPr>
          <a:xfrm>
            <a:off x="2578716" y="5212276"/>
            <a:ext cx="457772" cy="466415"/>
          </a:xfrm>
          <a:prstGeom prst="rect">
            <a:avLst/>
          </a:prstGeom>
          <a:noFill/>
          <a:ln>
            <a:noFill/>
          </a:ln>
        </p:spPr>
      </p:pic>
      <p:pic>
        <p:nvPicPr>
          <p:cNvPr id="104" name="Google Shape;4154;p6">
            <a:extLst>
              <a:ext uri="{FF2B5EF4-FFF2-40B4-BE49-F238E27FC236}">
                <a16:creationId xmlns:a16="http://schemas.microsoft.com/office/drawing/2014/main" id="{6147C835-50AC-4A8C-8E9E-5AE95FB5081D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2672989" y="4587368"/>
            <a:ext cx="269227" cy="23612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7260968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redondeado 7">
            <a:extLst>
              <a:ext uri="{FF2B5EF4-FFF2-40B4-BE49-F238E27FC236}">
                <a16:creationId xmlns:a16="http://schemas.microsoft.com/office/drawing/2014/main" id="{6549A35C-F7CF-46FB-B1FC-791F5BBA9662}"/>
              </a:ext>
            </a:extLst>
          </p:cNvPr>
          <p:cNvSpPr/>
          <p:nvPr/>
        </p:nvSpPr>
        <p:spPr>
          <a:xfrm>
            <a:off x="243972" y="601136"/>
            <a:ext cx="11990009" cy="5806167"/>
          </a:xfrm>
          <a:prstGeom prst="roundRect">
            <a:avLst>
              <a:gd name="adj" fmla="val 3808"/>
            </a:avLst>
          </a:prstGeom>
          <a:solidFill>
            <a:schemeClr val="bg1"/>
          </a:solidFill>
          <a:ln>
            <a:noFill/>
          </a:ln>
          <a:effectLst>
            <a:outerShdw blurRad="254000" dist="38100" dir="2700000" sx="102000" sy="102000" algn="tl" rotWithShape="0">
              <a:schemeClr val="tx1">
                <a:lumMod val="75000"/>
                <a:lumOff val="2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object 8">
            <a:extLst>
              <a:ext uri="{FF2B5EF4-FFF2-40B4-BE49-F238E27FC236}">
                <a16:creationId xmlns:a16="http://schemas.microsoft.com/office/drawing/2014/main" id="{10356CE2-80FA-4613-8E3E-B7A29E8A06E6}"/>
              </a:ext>
            </a:extLst>
          </p:cNvPr>
          <p:cNvSpPr txBox="1">
            <a:spLocks/>
          </p:cNvSpPr>
          <p:nvPr/>
        </p:nvSpPr>
        <p:spPr>
          <a:xfrm>
            <a:off x="243972" y="246003"/>
            <a:ext cx="9503064" cy="355133"/>
          </a:xfrm>
          <a:prstGeom prst="rect">
            <a:avLst/>
          </a:prstGeom>
        </p:spPr>
        <p:txBody>
          <a:bodyPr vert="horz" wrap="square" lIns="0" tIns="8925" rIns="0" bIns="0" rtlCol="0" anchor="ctr">
            <a:spAutoFit/>
          </a:bodyPr>
          <a:lstStyle>
            <a:lvl1pPr>
              <a:defRPr sz="3400" b="0" i="0">
                <a:solidFill>
                  <a:srgbClr val="B11116"/>
                </a:solidFill>
                <a:latin typeface="TCCC-UnityHeadline"/>
                <a:ea typeface="+mj-ea"/>
                <a:cs typeface="TCCC-UnityHeadline"/>
              </a:defRPr>
            </a:lvl1pPr>
          </a:lstStyle>
          <a:p>
            <a:pPr marL="8926" defTabSz="642640">
              <a:spcBef>
                <a:spcPts val="70"/>
              </a:spcBef>
              <a:defRPr/>
            </a:pPr>
            <a:r>
              <a:rPr lang="en-US" sz="2249" b="1" dirty="0">
                <a:solidFill>
                  <a:srgbClr val="DD0E1E"/>
                </a:solidFill>
                <a:ea typeface="+mn-ea"/>
              </a:rPr>
              <a:t>What Are The Benefits And Barriers to Address in Returnables?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4F4A8E18-B9AB-46FB-AF68-8325FB5BC15C}"/>
              </a:ext>
            </a:extLst>
          </p:cNvPr>
          <p:cNvSpPr txBox="1"/>
          <p:nvPr/>
        </p:nvSpPr>
        <p:spPr>
          <a:xfrm>
            <a:off x="1426360" y="1921549"/>
            <a:ext cx="1420096" cy="2870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65" b="1" dirty="0">
                <a:solidFill>
                  <a:srgbClr val="34454F"/>
                </a:solidFill>
                <a:latin typeface="TCCC-UnityTextPC"/>
              </a:rPr>
              <a:t>Benefits:</a:t>
            </a:r>
            <a:endParaRPr lang="en-IN" sz="1265" b="1" dirty="0">
              <a:solidFill>
                <a:srgbClr val="34454F"/>
              </a:solidFill>
              <a:latin typeface="TCCC-UnityTextPC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BF479EC3-5774-46A8-9756-F6C4F0B7B0E7}"/>
              </a:ext>
            </a:extLst>
          </p:cNvPr>
          <p:cNvSpPr txBox="1"/>
          <p:nvPr/>
        </p:nvSpPr>
        <p:spPr>
          <a:xfrm>
            <a:off x="6928393" y="1963974"/>
            <a:ext cx="2696418" cy="2870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65" b="1" dirty="0">
                <a:solidFill>
                  <a:srgbClr val="34454F"/>
                </a:solidFill>
                <a:latin typeface="TCCC-UnityTextPC"/>
              </a:rPr>
              <a:t>Barriers to Address:</a:t>
            </a:r>
          </a:p>
        </p:txBody>
      </p:sp>
      <p:sp>
        <p:nvSpPr>
          <p:cNvPr id="109" name="Freeform: Shape 108">
            <a:extLst>
              <a:ext uri="{FF2B5EF4-FFF2-40B4-BE49-F238E27FC236}">
                <a16:creationId xmlns:a16="http://schemas.microsoft.com/office/drawing/2014/main" id="{082ACAE7-D7C1-49C4-A2CC-3194E5783D85}"/>
              </a:ext>
            </a:extLst>
          </p:cNvPr>
          <p:cNvSpPr/>
          <p:nvPr/>
        </p:nvSpPr>
        <p:spPr>
          <a:xfrm rot="16200000">
            <a:off x="614548" y="804834"/>
            <a:ext cx="811923" cy="811699"/>
          </a:xfrm>
          <a:custGeom>
            <a:avLst/>
            <a:gdLst>
              <a:gd name="connsiteX0" fmla="*/ 1306800 w 1307085"/>
              <a:gd name="connsiteY0" fmla="*/ 653160 h 1306724"/>
              <a:gd name="connsiteX1" fmla="*/ 849952 w 1307085"/>
              <a:gd name="connsiteY1" fmla="*/ 1276330 h 1306724"/>
              <a:gd name="connsiteX2" fmla="*/ 653257 w 1307085"/>
              <a:gd name="connsiteY2" fmla="*/ 1306521 h 1306724"/>
              <a:gd name="connsiteX3" fmla="*/ -286 w 1307085"/>
              <a:gd name="connsiteY3" fmla="*/ 653340 h 1306724"/>
              <a:gd name="connsiteX4" fmla="*/ 652895 w 1307085"/>
              <a:gd name="connsiteY4" fmla="*/ -202 h 1306724"/>
              <a:gd name="connsiteX5" fmla="*/ 1306438 w 1307085"/>
              <a:gd name="connsiteY5" fmla="*/ 652979 h 1306724"/>
              <a:gd name="connsiteX6" fmla="*/ 1306438 w 1307085"/>
              <a:gd name="connsiteY6" fmla="*/ 653160 h 1306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07085" h="1306724">
                <a:moveTo>
                  <a:pt x="1306800" y="653160"/>
                </a:moveTo>
                <a:cubicBezTo>
                  <a:pt x="1306420" y="938187"/>
                  <a:pt x="1121656" y="1190221"/>
                  <a:pt x="849952" y="1276330"/>
                </a:cubicBezTo>
                <a:cubicBezTo>
                  <a:pt x="786334" y="1296469"/>
                  <a:pt x="719985" y="1306665"/>
                  <a:pt x="653257" y="1306521"/>
                </a:cubicBezTo>
                <a:cubicBezTo>
                  <a:pt x="292407" y="1306630"/>
                  <a:pt x="-176" y="1014190"/>
                  <a:pt x="-286" y="653340"/>
                </a:cubicBezTo>
                <a:cubicBezTo>
                  <a:pt x="-394" y="292491"/>
                  <a:pt x="292047" y="-93"/>
                  <a:pt x="652895" y="-202"/>
                </a:cubicBezTo>
                <a:cubicBezTo>
                  <a:pt x="1013745" y="-292"/>
                  <a:pt x="1306330" y="292130"/>
                  <a:pt x="1306438" y="652979"/>
                </a:cubicBezTo>
                <a:cubicBezTo>
                  <a:pt x="1306438" y="653033"/>
                  <a:pt x="1306438" y="653105"/>
                  <a:pt x="1306438" y="653160"/>
                </a:cubicBezTo>
                <a:close/>
              </a:path>
            </a:pathLst>
          </a:custGeom>
          <a:gradFill>
            <a:gsLst>
              <a:gs pos="0">
                <a:srgbClr val="323F4F"/>
              </a:gs>
              <a:gs pos="100000">
                <a:srgbClr val="7B8D97"/>
              </a:gs>
            </a:gsLst>
            <a:lin ang="0" scaled="0"/>
          </a:gradFill>
          <a:ln w="18059" cap="flat">
            <a:noFill/>
            <a:prstDash val="solid"/>
            <a:miter/>
          </a:ln>
        </p:spPr>
        <p:txBody>
          <a:bodyPr rtlCol="0" anchor="ctr"/>
          <a:lstStyle/>
          <a:p>
            <a:endParaRPr lang="en-IN" sz="1265"/>
          </a:p>
        </p:txBody>
      </p:sp>
      <p:sp>
        <p:nvSpPr>
          <p:cNvPr id="110" name="Freeform: Shape 109">
            <a:extLst>
              <a:ext uri="{FF2B5EF4-FFF2-40B4-BE49-F238E27FC236}">
                <a16:creationId xmlns:a16="http://schemas.microsoft.com/office/drawing/2014/main" id="{7DA92D64-86B8-4414-B329-F94D33C703CC}"/>
              </a:ext>
            </a:extLst>
          </p:cNvPr>
          <p:cNvSpPr/>
          <p:nvPr/>
        </p:nvSpPr>
        <p:spPr>
          <a:xfrm rot="16200000">
            <a:off x="701917" y="892092"/>
            <a:ext cx="637184" cy="637186"/>
          </a:xfrm>
          <a:custGeom>
            <a:avLst/>
            <a:gdLst>
              <a:gd name="connsiteX0" fmla="*/ 512605 w 1025780"/>
              <a:gd name="connsiteY0" fmla="*/ -202 h 1025781"/>
              <a:gd name="connsiteX1" fmla="*/ -286 w 1025780"/>
              <a:gd name="connsiteY1" fmla="*/ 512689 h 1025781"/>
              <a:gd name="connsiteX2" fmla="*/ 512605 w 1025780"/>
              <a:gd name="connsiteY2" fmla="*/ 1025579 h 1025781"/>
              <a:gd name="connsiteX3" fmla="*/ 1025495 w 1025780"/>
              <a:gd name="connsiteY3" fmla="*/ 512689 h 1025781"/>
              <a:gd name="connsiteX4" fmla="*/ 512605 w 1025780"/>
              <a:gd name="connsiteY4" fmla="*/ -202 h 10257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5780" h="1025781">
                <a:moveTo>
                  <a:pt x="512605" y="-202"/>
                </a:moveTo>
                <a:cubicBezTo>
                  <a:pt x="229348" y="-202"/>
                  <a:pt x="-286" y="229433"/>
                  <a:pt x="-286" y="512689"/>
                </a:cubicBezTo>
                <a:cubicBezTo>
                  <a:pt x="-286" y="795945"/>
                  <a:pt x="229348" y="1025579"/>
                  <a:pt x="512605" y="1025579"/>
                </a:cubicBezTo>
                <a:cubicBezTo>
                  <a:pt x="795861" y="1025579"/>
                  <a:pt x="1025495" y="795945"/>
                  <a:pt x="1025495" y="512689"/>
                </a:cubicBezTo>
                <a:cubicBezTo>
                  <a:pt x="1025495" y="229433"/>
                  <a:pt x="795861" y="-202"/>
                  <a:pt x="512605" y="-202"/>
                </a:cubicBezTo>
                <a:close/>
              </a:path>
            </a:pathLst>
          </a:custGeom>
          <a:solidFill>
            <a:srgbClr val="ED1D24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IN" sz="1265"/>
          </a:p>
        </p:txBody>
      </p:sp>
      <p:pic>
        <p:nvPicPr>
          <p:cNvPr id="111" name="object 11">
            <a:extLst>
              <a:ext uri="{FF2B5EF4-FFF2-40B4-BE49-F238E27FC236}">
                <a16:creationId xmlns:a16="http://schemas.microsoft.com/office/drawing/2014/main" id="{A184E01F-04DC-402A-B760-905787BAE928}"/>
              </a:ext>
            </a:extLst>
          </p:cNvPr>
          <p:cNvPicPr/>
          <p:nvPr/>
        </p:nvPicPr>
        <p:blipFill rotWithShape="1">
          <a:blip r:embed="rId3" cstate="print"/>
          <a:srcRect l="26198" t="29558" r="13589" b="12650"/>
          <a:stretch/>
        </p:blipFill>
        <p:spPr>
          <a:xfrm>
            <a:off x="795349" y="1023190"/>
            <a:ext cx="469286" cy="390364"/>
          </a:xfrm>
          <a:prstGeom prst="rect">
            <a:avLst/>
          </a:prstGeom>
          <a:gradFill flip="none" rotWithShape="1">
            <a:gsLst>
              <a:gs pos="100000">
                <a:srgbClr val="FEFEFE">
                  <a:alpha val="0"/>
                </a:srgbClr>
              </a:gs>
              <a:gs pos="0">
                <a:srgbClr val="C8CFD3">
                  <a:shade val="100000"/>
                  <a:satMod val="115000"/>
                </a:srgbClr>
              </a:gs>
            </a:gsLst>
            <a:lin ang="10800000" scaled="1"/>
            <a:tileRect/>
          </a:gradFill>
          <a:ln>
            <a:noFill/>
          </a:ln>
        </p:spPr>
      </p:pic>
      <p:sp>
        <p:nvSpPr>
          <p:cNvPr id="162" name="Google Shape;2155;p160">
            <a:extLst>
              <a:ext uri="{FF2B5EF4-FFF2-40B4-BE49-F238E27FC236}">
                <a16:creationId xmlns:a16="http://schemas.microsoft.com/office/drawing/2014/main" id="{173CF480-0340-48A3-8355-0FB48241340C}"/>
              </a:ext>
            </a:extLst>
          </p:cNvPr>
          <p:cNvSpPr/>
          <p:nvPr/>
        </p:nvSpPr>
        <p:spPr>
          <a:xfrm>
            <a:off x="1465678" y="2426188"/>
            <a:ext cx="1265125" cy="988000"/>
          </a:xfrm>
          <a:prstGeom prst="rect">
            <a:avLst/>
          </a:prstGeom>
          <a:solidFill>
            <a:srgbClr val="F40000"/>
          </a:solidFill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en-US" sz="1333" b="1">
                <a:solidFill>
                  <a:srgbClr val="FFFFFF"/>
                </a:solidFill>
              </a:rPr>
              <a:t>For the Experience</a:t>
            </a:r>
            <a:endParaRPr sz="1333" b="1">
              <a:solidFill>
                <a:srgbClr val="FFFFFF"/>
              </a:solidFill>
            </a:endParaRPr>
          </a:p>
        </p:txBody>
      </p:sp>
      <p:sp>
        <p:nvSpPr>
          <p:cNvPr id="163" name="Google Shape;2156;p160">
            <a:extLst>
              <a:ext uri="{FF2B5EF4-FFF2-40B4-BE49-F238E27FC236}">
                <a16:creationId xmlns:a16="http://schemas.microsoft.com/office/drawing/2014/main" id="{9BEAB0C2-B9B0-4AF5-843C-7BA5A6DB8304}"/>
              </a:ext>
            </a:extLst>
          </p:cNvPr>
          <p:cNvSpPr/>
          <p:nvPr/>
        </p:nvSpPr>
        <p:spPr>
          <a:xfrm>
            <a:off x="2846456" y="2426157"/>
            <a:ext cx="2508688" cy="98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146300" indent="-182198">
              <a:lnSpc>
                <a:spcPct val="115000"/>
              </a:lnSpc>
              <a:buClr>
                <a:srgbClr val="000000"/>
              </a:buClr>
              <a:buSzPts val="1000"/>
              <a:buChar char="•"/>
            </a:pPr>
            <a:r>
              <a:rPr lang="en-US" sz="1333" dirty="0"/>
              <a:t>+38% tastes better</a:t>
            </a:r>
            <a:endParaRPr sz="1333" dirty="0"/>
          </a:p>
          <a:p>
            <a:pPr marL="146300" indent="-182198">
              <a:lnSpc>
                <a:spcPct val="115000"/>
              </a:lnSpc>
              <a:buClr>
                <a:srgbClr val="000000"/>
              </a:buClr>
              <a:buSzPts val="1000"/>
              <a:buChar char="•"/>
            </a:pPr>
            <a:r>
              <a:rPr lang="en-US" sz="1333" dirty="0"/>
              <a:t>+27% is colder</a:t>
            </a:r>
            <a:endParaRPr sz="1333" dirty="0"/>
          </a:p>
          <a:p>
            <a:pPr marL="146300" indent="-182198">
              <a:lnSpc>
                <a:spcPct val="115000"/>
              </a:lnSpc>
              <a:buClr>
                <a:srgbClr val="000000"/>
              </a:buClr>
              <a:buSzPts val="1000"/>
              <a:buChar char="•"/>
            </a:pPr>
            <a:r>
              <a:rPr lang="en-US" sz="1333" dirty="0"/>
              <a:t>+32% feels better in hand</a:t>
            </a:r>
            <a:endParaRPr sz="1333" dirty="0"/>
          </a:p>
          <a:p>
            <a:pPr marL="146300" indent="-182198">
              <a:lnSpc>
                <a:spcPct val="115000"/>
              </a:lnSpc>
              <a:buClr>
                <a:srgbClr val="000000"/>
              </a:buClr>
              <a:buSzPts val="1000"/>
              <a:buChar char="•"/>
            </a:pPr>
            <a:r>
              <a:rPr lang="en-US" sz="1333" dirty="0"/>
              <a:t>+38% is high quality</a:t>
            </a:r>
            <a:endParaRPr sz="1333" dirty="0"/>
          </a:p>
        </p:txBody>
      </p:sp>
      <p:sp>
        <p:nvSpPr>
          <p:cNvPr id="164" name="Google Shape;2157;p160">
            <a:extLst>
              <a:ext uri="{FF2B5EF4-FFF2-40B4-BE49-F238E27FC236}">
                <a16:creationId xmlns:a16="http://schemas.microsoft.com/office/drawing/2014/main" id="{9B40D81A-DE98-4DF6-8FC1-46A4EDA06785}"/>
              </a:ext>
            </a:extLst>
          </p:cNvPr>
          <p:cNvSpPr/>
          <p:nvPr/>
        </p:nvSpPr>
        <p:spPr>
          <a:xfrm>
            <a:off x="1465678" y="3602388"/>
            <a:ext cx="1265125" cy="988000"/>
          </a:xfrm>
          <a:prstGeom prst="rect">
            <a:avLst/>
          </a:prstGeom>
          <a:solidFill>
            <a:srgbClr val="F40000"/>
          </a:solidFill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en-US" sz="1333" b="1">
                <a:solidFill>
                  <a:srgbClr val="FFFFFF"/>
                </a:solidFill>
              </a:rPr>
              <a:t>For the Look</a:t>
            </a:r>
            <a:endParaRPr sz="1333" b="1">
              <a:solidFill>
                <a:srgbClr val="FFFFFF"/>
              </a:solidFill>
            </a:endParaRPr>
          </a:p>
        </p:txBody>
      </p:sp>
      <p:sp>
        <p:nvSpPr>
          <p:cNvPr id="165" name="Google Shape;2158;p160">
            <a:extLst>
              <a:ext uri="{FF2B5EF4-FFF2-40B4-BE49-F238E27FC236}">
                <a16:creationId xmlns:a16="http://schemas.microsoft.com/office/drawing/2014/main" id="{9293BA11-39BD-45F8-92B7-CC772DC2DCFF}"/>
              </a:ext>
            </a:extLst>
          </p:cNvPr>
          <p:cNvSpPr/>
          <p:nvPr/>
        </p:nvSpPr>
        <p:spPr>
          <a:xfrm>
            <a:off x="2846456" y="3602388"/>
            <a:ext cx="3773200" cy="98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146300" indent="-182198">
              <a:lnSpc>
                <a:spcPct val="115000"/>
              </a:lnSpc>
              <a:buClr>
                <a:srgbClr val="000000"/>
              </a:buClr>
              <a:buSzPts val="1000"/>
              <a:buChar char="•"/>
            </a:pPr>
            <a:r>
              <a:rPr lang="en-US" sz="1333">
                <a:solidFill>
                  <a:srgbClr val="000000"/>
                </a:solidFill>
              </a:rPr>
              <a:t>130 Index is “Unique”</a:t>
            </a:r>
            <a:endParaRPr sz="1333">
              <a:solidFill>
                <a:srgbClr val="000000"/>
              </a:solidFill>
            </a:endParaRPr>
          </a:p>
          <a:p>
            <a:pPr marL="146300" indent="-182198">
              <a:lnSpc>
                <a:spcPct val="115000"/>
              </a:lnSpc>
              <a:buClr>
                <a:srgbClr val="000000"/>
              </a:buClr>
              <a:buSzPts val="1000"/>
              <a:buChar char="•"/>
            </a:pPr>
            <a:r>
              <a:rPr lang="en-US" sz="1333">
                <a:solidFill>
                  <a:srgbClr val="000000"/>
                </a:solidFill>
              </a:rPr>
              <a:t>130 Index is “Attractive packaging”</a:t>
            </a:r>
            <a:endParaRPr sz="1333">
              <a:solidFill>
                <a:srgbClr val="000000"/>
              </a:solidFill>
            </a:endParaRPr>
          </a:p>
          <a:p>
            <a:pPr marL="146300" indent="-182198">
              <a:lnSpc>
                <a:spcPct val="115000"/>
              </a:lnSpc>
              <a:buClr>
                <a:srgbClr val="000000"/>
              </a:buClr>
              <a:buSzPts val="1000"/>
              <a:buChar char="•"/>
            </a:pPr>
            <a:r>
              <a:rPr lang="en-US" sz="1333">
                <a:solidFill>
                  <a:srgbClr val="000000"/>
                </a:solidFill>
              </a:rPr>
              <a:t>142 Index is “Make any drink look appealing”</a:t>
            </a:r>
            <a:endParaRPr sz="1333">
              <a:solidFill>
                <a:srgbClr val="000000"/>
              </a:solidFill>
            </a:endParaRPr>
          </a:p>
          <a:p>
            <a:pPr marL="146300" indent="-182198">
              <a:lnSpc>
                <a:spcPct val="115000"/>
              </a:lnSpc>
              <a:buClr>
                <a:srgbClr val="000000"/>
              </a:buClr>
              <a:buSzPts val="1000"/>
              <a:buChar char="•"/>
            </a:pPr>
            <a:r>
              <a:rPr lang="en-US" sz="1333">
                <a:solidFill>
                  <a:srgbClr val="000000"/>
                </a:solidFill>
              </a:rPr>
              <a:t>+55% is sexy</a:t>
            </a:r>
            <a:endParaRPr sz="1333">
              <a:solidFill>
                <a:srgbClr val="000000"/>
              </a:solidFill>
            </a:endParaRPr>
          </a:p>
        </p:txBody>
      </p:sp>
      <p:sp>
        <p:nvSpPr>
          <p:cNvPr id="166" name="Google Shape;2161;p160">
            <a:extLst>
              <a:ext uri="{FF2B5EF4-FFF2-40B4-BE49-F238E27FC236}">
                <a16:creationId xmlns:a16="http://schemas.microsoft.com/office/drawing/2014/main" id="{9E7B70B0-FBA0-4D7E-BF63-32A555C7409B}"/>
              </a:ext>
            </a:extLst>
          </p:cNvPr>
          <p:cNvSpPr txBox="1"/>
          <p:nvPr/>
        </p:nvSpPr>
        <p:spPr>
          <a:xfrm>
            <a:off x="1535054" y="5928092"/>
            <a:ext cx="3448425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r>
              <a:rPr lang="en-US" sz="1000" dirty="0" err="1">
                <a:solidFill>
                  <a:schemeClr val="dk1"/>
                </a:solidFill>
              </a:rPr>
              <a:t>Source:Global</a:t>
            </a:r>
            <a:r>
              <a:rPr lang="en-US" sz="1000" dirty="0">
                <a:solidFill>
                  <a:schemeClr val="dk1"/>
                </a:solidFill>
              </a:rPr>
              <a:t> Data, Coca-Cola Glass Packaging Consumer Report</a:t>
            </a:r>
            <a:endParaRPr sz="1000" dirty="0">
              <a:solidFill>
                <a:schemeClr val="dk1"/>
              </a:solidFill>
            </a:endParaRPr>
          </a:p>
        </p:txBody>
      </p:sp>
      <p:sp>
        <p:nvSpPr>
          <p:cNvPr id="167" name="Google Shape;2157;p160">
            <a:extLst>
              <a:ext uri="{FF2B5EF4-FFF2-40B4-BE49-F238E27FC236}">
                <a16:creationId xmlns:a16="http://schemas.microsoft.com/office/drawing/2014/main" id="{532799FC-289C-4F80-8C23-B1C6C959AD07}"/>
              </a:ext>
            </a:extLst>
          </p:cNvPr>
          <p:cNvSpPr/>
          <p:nvPr/>
        </p:nvSpPr>
        <p:spPr>
          <a:xfrm>
            <a:off x="1465678" y="4722459"/>
            <a:ext cx="1265125" cy="988000"/>
          </a:xfrm>
          <a:prstGeom prst="rect">
            <a:avLst/>
          </a:prstGeom>
          <a:solidFill>
            <a:srgbClr val="F40000"/>
          </a:solidFill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en-US" sz="1333" b="1" dirty="0">
                <a:solidFill>
                  <a:srgbClr val="FFFFFF"/>
                </a:solidFill>
              </a:rPr>
              <a:t>For the Pocket and the World</a:t>
            </a:r>
            <a:endParaRPr sz="1333" b="1" dirty="0">
              <a:solidFill>
                <a:srgbClr val="FFFFFF"/>
              </a:solidFill>
            </a:endParaRPr>
          </a:p>
        </p:txBody>
      </p:sp>
      <p:sp>
        <p:nvSpPr>
          <p:cNvPr id="168" name="Google Shape;2158;p160">
            <a:extLst>
              <a:ext uri="{FF2B5EF4-FFF2-40B4-BE49-F238E27FC236}">
                <a16:creationId xmlns:a16="http://schemas.microsoft.com/office/drawing/2014/main" id="{79D690EB-6EE4-4586-8702-F58B2F3C5836}"/>
              </a:ext>
            </a:extLst>
          </p:cNvPr>
          <p:cNvSpPr/>
          <p:nvPr/>
        </p:nvSpPr>
        <p:spPr>
          <a:xfrm>
            <a:off x="2870846" y="4852609"/>
            <a:ext cx="3773200" cy="98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146300" indent="-182198">
              <a:lnSpc>
                <a:spcPct val="115000"/>
              </a:lnSpc>
              <a:buClr>
                <a:srgbClr val="000000"/>
              </a:buClr>
              <a:buSzPts val="1000"/>
              <a:buChar char="•"/>
            </a:pPr>
            <a:r>
              <a:rPr lang="en-US" sz="1333" dirty="0">
                <a:solidFill>
                  <a:srgbClr val="000000"/>
                </a:solidFill>
              </a:rPr>
              <a:t>Offers Affordable options</a:t>
            </a:r>
          </a:p>
          <a:p>
            <a:pPr marL="146300" indent="-182198">
              <a:lnSpc>
                <a:spcPct val="115000"/>
              </a:lnSpc>
              <a:buClr>
                <a:srgbClr val="000000"/>
              </a:buClr>
              <a:buSzPts val="1000"/>
              <a:buChar char="•"/>
            </a:pPr>
            <a:r>
              <a:rPr lang="en-US" sz="1333" dirty="0">
                <a:solidFill>
                  <a:srgbClr val="000000"/>
                </a:solidFill>
              </a:rPr>
              <a:t>Better for the environment</a:t>
            </a:r>
          </a:p>
        </p:txBody>
      </p:sp>
      <p:sp>
        <p:nvSpPr>
          <p:cNvPr id="169" name="Google Shape;2156;p160">
            <a:extLst>
              <a:ext uri="{FF2B5EF4-FFF2-40B4-BE49-F238E27FC236}">
                <a16:creationId xmlns:a16="http://schemas.microsoft.com/office/drawing/2014/main" id="{639072D3-C73A-4431-B773-083CC0AC50A7}"/>
              </a:ext>
            </a:extLst>
          </p:cNvPr>
          <p:cNvSpPr/>
          <p:nvPr/>
        </p:nvSpPr>
        <p:spPr>
          <a:xfrm>
            <a:off x="8462256" y="3669352"/>
            <a:ext cx="2918368" cy="98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146300" indent="-182198">
              <a:lnSpc>
                <a:spcPct val="115000"/>
              </a:lnSpc>
              <a:buClr>
                <a:srgbClr val="000000"/>
              </a:buClr>
              <a:buSzPts val="1000"/>
              <a:buChar char="•"/>
            </a:pPr>
            <a:r>
              <a:rPr lang="en-US" sz="1333" dirty="0"/>
              <a:t>Breakable / Heavy</a:t>
            </a:r>
          </a:p>
          <a:p>
            <a:pPr marL="146300" indent="-182198">
              <a:lnSpc>
                <a:spcPct val="115000"/>
              </a:lnSpc>
              <a:buClr>
                <a:srgbClr val="000000"/>
              </a:buClr>
              <a:buSzPts val="1000"/>
              <a:buChar char="•"/>
            </a:pPr>
            <a:r>
              <a:rPr lang="en-US" sz="1333" dirty="0"/>
              <a:t>Dangerous to carry</a:t>
            </a:r>
          </a:p>
          <a:p>
            <a:pPr marL="146300" indent="-182198">
              <a:lnSpc>
                <a:spcPct val="115000"/>
              </a:lnSpc>
              <a:buClr>
                <a:srgbClr val="000000"/>
              </a:buClr>
              <a:buSzPts val="1000"/>
              <a:buChar char="•"/>
            </a:pPr>
            <a:r>
              <a:rPr lang="en-US" sz="1333" dirty="0"/>
              <a:t>Bottles with crowns with rust and not resealable</a:t>
            </a:r>
          </a:p>
        </p:txBody>
      </p:sp>
      <p:sp>
        <p:nvSpPr>
          <p:cNvPr id="170" name="Google Shape;2155;p160">
            <a:extLst>
              <a:ext uri="{FF2B5EF4-FFF2-40B4-BE49-F238E27FC236}">
                <a16:creationId xmlns:a16="http://schemas.microsoft.com/office/drawing/2014/main" id="{EBC2B63A-A51B-438D-89C8-F4DB003C3FA8}"/>
              </a:ext>
            </a:extLst>
          </p:cNvPr>
          <p:cNvSpPr/>
          <p:nvPr/>
        </p:nvSpPr>
        <p:spPr>
          <a:xfrm>
            <a:off x="7011477" y="2442514"/>
            <a:ext cx="1265125" cy="988000"/>
          </a:xfrm>
          <a:prstGeom prst="rect">
            <a:avLst/>
          </a:prstGeom>
          <a:solidFill>
            <a:srgbClr val="F40000"/>
          </a:solidFill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en-US" sz="1333" b="1" dirty="0">
                <a:solidFill>
                  <a:srgbClr val="FFFFFF"/>
                </a:solidFill>
              </a:rPr>
              <a:t>Buying and storage</a:t>
            </a:r>
            <a:endParaRPr sz="1333" b="1" dirty="0">
              <a:solidFill>
                <a:srgbClr val="FFFFFF"/>
              </a:solidFill>
            </a:endParaRPr>
          </a:p>
        </p:txBody>
      </p:sp>
      <p:sp>
        <p:nvSpPr>
          <p:cNvPr id="171" name="Google Shape;2157;p160">
            <a:extLst>
              <a:ext uri="{FF2B5EF4-FFF2-40B4-BE49-F238E27FC236}">
                <a16:creationId xmlns:a16="http://schemas.microsoft.com/office/drawing/2014/main" id="{9A0737FC-AB05-465D-A2E3-BE8EEDAE455B}"/>
              </a:ext>
            </a:extLst>
          </p:cNvPr>
          <p:cNvSpPr/>
          <p:nvPr/>
        </p:nvSpPr>
        <p:spPr>
          <a:xfrm>
            <a:off x="7011477" y="3653649"/>
            <a:ext cx="1265125" cy="988000"/>
          </a:xfrm>
          <a:prstGeom prst="rect">
            <a:avLst/>
          </a:prstGeom>
          <a:solidFill>
            <a:srgbClr val="F40000"/>
          </a:solidFill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r>
              <a:rPr lang="en-US" sz="1333" b="1" dirty="0">
                <a:solidFill>
                  <a:srgbClr val="FFFFFF"/>
                </a:solidFill>
              </a:rPr>
              <a:t>Bottle</a:t>
            </a:r>
            <a:endParaRPr sz="1333" b="1" dirty="0">
              <a:solidFill>
                <a:srgbClr val="FFFFFF"/>
              </a:solidFill>
            </a:endParaRPr>
          </a:p>
        </p:txBody>
      </p:sp>
      <p:sp>
        <p:nvSpPr>
          <p:cNvPr id="172" name="Google Shape;2156;p160">
            <a:extLst>
              <a:ext uri="{FF2B5EF4-FFF2-40B4-BE49-F238E27FC236}">
                <a16:creationId xmlns:a16="http://schemas.microsoft.com/office/drawing/2014/main" id="{98640810-3595-478A-9245-519F0B313A46}"/>
              </a:ext>
            </a:extLst>
          </p:cNvPr>
          <p:cNvSpPr/>
          <p:nvPr/>
        </p:nvSpPr>
        <p:spPr>
          <a:xfrm>
            <a:off x="8434288" y="2340112"/>
            <a:ext cx="2918368" cy="98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146300" indent="-182198">
              <a:lnSpc>
                <a:spcPct val="115000"/>
              </a:lnSpc>
              <a:buClr>
                <a:srgbClr val="000000"/>
              </a:buClr>
              <a:buSzPts val="1000"/>
              <a:buChar char="•"/>
            </a:pPr>
            <a:r>
              <a:rPr lang="en-US" sz="1333" dirty="0"/>
              <a:t>Requires planned purchase (42% forget bottle, 35% say storage is an issue)</a:t>
            </a:r>
          </a:p>
          <a:p>
            <a:pPr marL="146300" indent="-182198">
              <a:lnSpc>
                <a:spcPct val="115000"/>
              </a:lnSpc>
              <a:buClr>
                <a:srgbClr val="000000"/>
              </a:buClr>
              <a:buSzPts val="1000"/>
              <a:buChar char="•"/>
            </a:pPr>
            <a:r>
              <a:rPr lang="en-US" sz="1333" dirty="0"/>
              <a:t>Paying for the bottle</a:t>
            </a:r>
          </a:p>
          <a:p>
            <a:pPr marL="146300" indent="-182198">
              <a:lnSpc>
                <a:spcPct val="115000"/>
              </a:lnSpc>
              <a:buClr>
                <a:srgbClr val="000000"/>
              </a:buClr>
              <a:buSzPts val="1000"/>
              <a:buChar char="•"/>
            </a:pPr>
            <a:r>
              <a:rPr lang="en-US" sz="1333" dirty="0"/>
              <a:t>Doubts regarding cleaning process</a:t>
            </a:r>
          </a:p>
          <a:p>
            <a:pPr marL="146300" indent="-182198">
              <a:lnSpc>
                <a:spcPct val="115000"/>
              </a:lnSpc>
              <a:buClr>
                <a:srgbClr val="000000"/>
              </a:buClr>
              <a:buSzPts val="1000"/>
              <a:buChar char="•"/>
            </a:pPr>
            <a:r>
              <a:rPr lang="en-US" sz="1333" dirty="0"/>
              <a:t>Empty bottles may attract insects</a:t>
            </a:r>
          </a:p>
        </p:txBody>
      </p:sp>
      <p:sp>
        <p:nvSpPr>
          <p:cNvPr id="175" name="Rectangle: Top Corners Rounded 174">
            <a:extLst>
              <a:ext uri="{FF2B5EF4-FFF2-40B4-BE49-F238E27FC236}">
                <a16:creationId xmlns:a16="http://schemas.microsoft.com/office/drawing/2014/main" id="{0EC51455-0E8D-48FA-8CDD-9DAD198AE398}"/>
              </a:ext>
            </a:extLst>
          </p:cNvPr>
          <p:cNvSpPr/>
          <p:nvPr/>
        </p:nvSpPr>
        <p:spPr>
          <a:xfrm>
            <a:off x="1619214" y="977838"/>
            <a:ext cx="3638347" cy="477283"/>
          </a:xfrm>
          <a:prstGeom prst="round2SameRect">
            <a:avLst/>
          </a:prstGeom>
          <a:solidFill>
            <a:srgbClr val="F4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65" dirty="0">
                <a:solidFill>
                  <a:schemeClr val="bg1"/>
                </a:solidFill>
                <a:latin typeface="TCCC-UnityTextPC"/>
              </a:rPr>
              <a:t>CONSUMER</a:t>
            </a:r>
          </a:p>
        </p:txBody>
      </p:sp>
    </p:spTree>
    <p:extLst>
      <p:ext uri="{BB962C8B-B14F-4D97-AF65-F5344CB8AC3E}">
        <p14:creationId xmlns:p14="http://schemas.microsoft.com/office/powerpoint/2010/main" val="1353499658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9365E49-E9E8-4E7C-A593-CC526B7317B8}"/>
              </a:ext>
            </a:extLst>
          </p:cNvPr>
          <p:cNvSpPr/>
          <p:nvPr/>
        </p:nvSpPr>
        <p:spPr>
          <a:xfrm>
            <a:off x="1949986" y="1807800"/>
            <a:ext cx="7218662" cy="458806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99" name="Google Shape;2199;p162"/>
          <p:cNvSpPr/>
          <p:nvPr/>
        </p:nvSpPr>
        <p:spPr>
          <a:xfrm rot="740">
            <a:off x="7381567" y="5402467"/>
            <a:ext cx="1858000" cy="2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r>
              <a:rPr lang="en-US" sz="1333" b="1"/>
              <a:t>Percentage of Consumers</a:t>
            </a:r>
            <a:endParaRPr sz="1333" b="1"/>
          </a:p>
          <a:p>
            <a:r>
              <a:rPr lang="en-US" sz="1333" b="1"/>
              <a:t>who prefer Plastic</a:t>
            </a:r>
            <a:endParaRPr sz="1333" b="1"/>
          </a:p>
        </p:txBody>
      </p:sp>
      <p:pic>
        <p:nvPicPr>
          <p:cNvPr id="2200" name="Google Shape;2200;p162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2545468" y="1817067"/>
            <a:ext cx="6572401" cy="4578799"/>
          </a:xfrm>
          <a:prstGeom prst="rect">
            <a:avLst/>
          </a:prstGeom>
          <a:noFill/>
          <a:ln>
            <a:noFill/>
          </a:ln>
        </p:spPr>
      </p:pic>
      <p:sp>
        <p:nvSpPr>
          <p:cNvPr id="2201" name="Google Shape;2201;p162"/>
          <p:cNvSpPr/>
          <p:nvPr/>
        </p:nvSpPr>
        <p:spPr>
          <a:xfrm>
            <a:off x="2545467" y="1817067"/>
            <a:ext cx="6572400" cy="4578800"/>
          </a:xfrm>
          <a:prstGeom prst="rect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endParaRPr sz="2400"/>
          </a:p>
        </p:txBody>
      </p:sp>
      <p:sp>
        <p:nvSpPr>
          <p:cNvPr id="2202" name="Google Shape;2202;p162"/>
          <p:cNvSpPr txBox="1">
            <a:spLocks noGrp="1"/>
          </p:cNvSpPr>
          <p:nvPr>
            <p:ph type="title"/>
          </p:nvPr>
        </p:nvSpPr>
        <p:spPr>
          <a:xfrm>
            <a:off x="52753" y="-91687"/>
            <a:ext cx="1201016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buClrTx/>
              <a:buSzTx/>
              <a:buFontTx/>
            </a:pPr>
            <a:r>
              <a:rPr lang="en-US" sz="3200" b="1" kern="0" dirty="0">
                <a:solidFill>
                  <a:srgbClr val="E82101"/>
                </a:solidFill>
                <a:latin typeface="Calibri" panose="020F0502020204030204"/>
                <a:ea typeface="+mn-ea"/>
                <a:cs typeface="Arial" pitchFamily="34" charset="0"/>
              </a:rPr>
              <a:t>This holds true across markets as well as consumers in most markets clearly prefer the experience of glass over plastic (the second most preferred package)</a:t>
            </a:r>
            <a:endParaRPr sz="3200" b="1" kern="0" dirty="0">
              <a:solidFill>
                <a:srgbClr val="E82101"/>
              </a:solidFill>
              <a:latin typeface="Calibri" panose="020F0502020204030204"/>
              <a:ea typeface="+mn-ea"/>
              <a:cs typeface="Arial" pitchFamily="34" charset="0"/>
            </a:endParaRPr>
          </a:p>
        </p:txBody>
      </p:sp>
      <p:sp>
        <p:nvSpPr>
          <p:cNvPr id="2203" name="Google Shape;2203;p162"/>
          <p:cNvSpPr/>
          <p:nvPr/>
        </p:nvSpPr>
        <p:spPr>
          <a:xfrm>
            <a:off x="1949986" y="1451467"/>
            <a:ext cx="7289608" cy="347067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SzPts val="1100"/>
            </a:pPr>
            <a:r>
              <a:rPr lang="en-US" sz="1600" b="1">
                <a:solidFill>
                  <a:schemeClr val="lt1"/>
                </a:solidFill>
              </a:rPr>
              <a:t>Percentage of Consumers who prefer Glass vs Plastic by market</a:t>
            </a:r>
            <a:endParaRPr sz="1600" b="1" baseline="30000">
              <a:solidFill>
                <a:schemeClr val="lt1"/>
              </a:solidFill>
            </a:endParaRPr>
          </a:p>
        </p:txBody>
      </p:sp>
      <p:sp>
        <p:nvSpPr>
          <p:cNvPr id="2204" name="Google Shape;2204;p162"/>
          <p:cNvSpPr txBox="1"/>
          <p:nvPr/>
        </p:nvSpPr>
        <p:spPr>
          <a:xfrm>
            <a:off x="946900" y="6696339"/>
            <a:ext cx="592080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r>
              <a:rPr lang="en-US" sz="800">
                <a:solidFill>
                  <a:schemeClr val="dk1"/>
                </a:solidFill>
              </a:rPr>
              <a:t>Source:Global Data</a:t>
            </a:r>
            <a:endParaRPr sz="800">
              <a:solidFill>
                <a:schemeClr val="dk1"/>
              </a:solidFill>
            </a:endParaRPr>
          </a:p>
        </p:txBody>
      </p:sp>
      <p:sp>
        <p:nvSpPr>
          <p:cNvPr id="2205" name="Google Shape;2205;p162"/>
          <p:cNvSpPr txBox="1"/>
          <p:nvPr/>
        </p:nvSpPr>
        <p:spPr>
          <a:xfrm>
            <a:off x="946900" y="6563962"/>
            <a:ext cx="592080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r>
              <a:rPr lang="en-US" sz="800">
                <a:solidFill>
                  <a:schemeClr val="dk1"/>
                </a:solidFill>
              </a:rPr>
              <a:t>1. Survey Question: Which packaging do you favor across the following, Glass, Fountain, Plastic, Cans, Paper, Other</a:t>
            </a:r>
            <a:endParaRPr sz="800">
              <a:solidFill>
                <a:schemeClr val="dk1"/>
              </a:solidFill>
            </a:endParaRPr>
          </a:p>
        </p:txBody>
      </p:sp>
      <p:cxnSp>
        <p:nvCxnSpPr>
          <p:cNvPr id="2206" name="Google Shape;2206;p162"/>
          <p:cNvCxnSpPr/>
          <p:nvPr/>
        </p:nvCxnSpPr>
        <p:spPr>
          <a:xfrm rot="10800000" flipH="1">
            <a:off x="2977633" y="3843233"/>
            <a:ext cx="6160400" cy="221520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207" name="Google Shape;2207;p162"/>
          <p:cNvSpPr/>
          <p:nvPr/>
        </p:nvSpPr>
        <p:spPr>
          <a:xfrm rot="-5399385">
            <a:off x="1120667" y="3646067"/>
            <a:ext cx="2237600" cy="2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ctr"/>
            <a:r>
              <a:rPr lang="en-US" sz="1333" b="1"/>
              <a:t>Percentage of Consumers</a:t>
            </a:r>
            <a:endParaRPr sz="1333" b="1"/>
          </a:p>
          <a:p>
            <a:pPr algn="ctr"/>
            <a:r>
              <a:rPr lang="en-US" sz="1333" b="1"/>
              <a:t>who prefer Glass</a:t>
            </a:r>
            <a:endParaRPr sz="1333" b="1"/>
          </a:p>
        </p:txBody>
      </p:sp>
      <p:sp>
        <p:nvSpPr>
          <p:cNvPr id="2208" name="Google Shape;2208;p162"/>
          <p:cNvSpPr/>
          <p:nvPr/>
        </p:nvSpPr>
        <p:spPr>
          <a:xfrm rot="-1242136">
            <a:off x="3838703" y="5074384"/>
            <a:ext cx="2238115" cy="2449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algn="ctr"/>
            <a:r>
              <a:rPr lang="en-US" sz="1333" b="1"/>
              <a:t>Glass = Plastic</a:t>
            </a:r>
            <a:endParaRPr sz="1333" b="1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69261F-1DA9-487B-A6A5-930290D97645}"/>
              </a:ext>
            </a:extLst>
          </p:cNvPr>
          <p:cNvSpPr/>
          <p:nvPr/>
        </p:nvSpPr>
        <p:spPr>
          <a:xfrm>
            <a:off x="739990" y="1622640"/>
            <a:ext cx="10712022" cy="476799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14" name="Google Shape;2214;p163"/>
          <p:cNvSpPr txBox="1">
            <a:spLocks noGrp="1"/>
          </p:cNvSpPr>
          <p:nvPr>
            <p:ph type="sldNum" idx="12"/>
          </p:nvPr>
        </p:nvSpPr>
        <p:spPr>
          <a:xfrm>
            <a:off x="11683133" y="6413733"/>
            <a:ext cx="457600" cy="444400"/>
          </a:xfrm>
          <a:prstGeom prst="rect">
            <a:avLst/>
          </a:prstGeom>
        </p:spPr>
        <p:txBody>
          <a:bodyPr spcFirstLastPara="1" vert="horz" wrap="square" lIns="121900" tIns="121900" rIns="121900" bIns="121900" rtlCol="0" anchor="t" anchorCtr="0">
            <a:noAutofit/>
          </a:bodyPr>
          <a:lstStyle/>
          <a:p>
            <a:pPr algn="ctr"/>
            <a:fld id="{00000000-1234-1234-1234-123412341234}" type="slidenum">
              <a:rPr lang="en-US"/>
              <a:pPr algn="ctr"/>
              <a:t>6</a:t>
            </a:fld>
            <a:endParaRPr/>
          </a:p>
        </p:txBody>
      </p:sp>
      <p:sp>
        <p:nvSpPr>
          <p:cNvPr id="2215" name="Google Shape;2215;p163"/>
          <p:cNvSpPr txBox="1"/>
          <p:nvPr/>
        </p:nvSpPr>
        <p:spPr>
          <a:xfrm>
            <a:off x="445999" y="76199"/>
            <a:ext cx="11300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 kern="0">
                <a:solidFill>
                  <a:srgbClr val="E82101"/>
                </a:solidFill>
                <a:latin typeface="Calibri" panose="020F0502020204030204"/>
                <a:cs typeface="Arial" pitchFamily="34" charset="0"/>
              </a:defRPr>
            </a:lvl1pPr>
          </a:lstStyle>
          <a:p>
            <a:r>
              <a:rPr lang="en-US" dirty="0">
                <a:sym typeface="Georgia"/>
              </a:rPr>
              <a:t>Brand equity (BLS), which is an indicator for recruitment, also has a directional relationship with % Glass mix for CCTM</a:t>
            </a:r>
            <a:endParaRPr dirty="0">
              <a:sym typeface="Georgia"/>
            </a:endParaRPr>
          </a:p>
        </p:txBody>
      </p:sp>
      <p:sp>
        <p:nvSpPr>
          <p:cNvPr id="2216" name="Google Shape;2216;p163"/>
          <p:cNvSpPr/>
          <p:nvPr/>
        </p:nvSpPr>
        <p:spPr>
          <a:xfrm>
            <a:off x="739988" y="1317839"/>
            <a:ext cx="10712022" cy="367474"/>
          </a:xfrm>
          <a:prstGeom prst="rect">
            <a:avLst/>
          </a:prstGeom>
          <a:solidFill>
            <a:srgbClr val="B82234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algn="ctr">
              <a:buSzPts val="1100"/>
            </a:pPr>
            <a:r>
              <a:rPr lang="en-US" sz="1600" b="1">
                <a:solidFill>
                  <a:srgbClr val="FFFFFF"/>
                </a:solidFill>
              </a:rPr>
              <a:t>Coke TM % Glass Mix Compared to Coke TM BLS Score</a:t>
            </a:r>
            <a:endParaRPr sz="1600" b="1" baseline="30000">
              <a:solidFill>
                <a:srgbClr val="FFFFFF"/>
              </a:solidFill>
            </a:endParaRPr>
          </a:p>
        </p:txBody>
      </p:sp>
      <p:pic>
        <p:nvPicPr>
          <p:cNvPr id="2217" name="Google Shape;2217;p163"/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914400" y="1756267"/>
            <a:ext cx="10537611" cy="4401296"/>
          </a:xfrm>
          <a:prstGeom prst="rect">
            <a:avLst/>
          </a:prstGeom>
          <a:noFill/>
          <a:ln>
            <a:noFill/>
          </a:ln>
        </p:spPr>
      </p:pic>
      <p:sp>
        <p:nvSpPr>
          <p:cNvPr id="2218" name="Google Shape;2218;p163"/>
          <p:cNvSpPr txBox="1"/>
          <p:nvPr/>
        </p:nvSpPr>
        <p:spPr>
          <a:xfrm>
            <a:off x="973567" y="6674365"/>
            <a:ext cx="347800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r>
              <a:rPr lang="en-US" sz="800"/>
              <a:t>Source: Glass mix GCS Volume YTD 2021, BLS from BGS 2018</a:t>
            </a:r>
            <a:endParaRPr sz="800"/>
          </a:p>
        </p:txBody>
      </p:sp>
      <p:sp>
        <p:nvSpPr>
          <p:cNvPr id="2219" name="Google Shape;2219;p163"/>
          <p:cNvSpPr/>
          <p:nvPr/>
        </p:nvSpPr>
        <p:spPr>
          <a:xfrm rot="-5399280">
            <a:off x="62200" y="3693335"/>
            <a:ext cx="1910000" cy="2452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r>
              <a:rPr lang="en-US" sz="1333" b="1"/>
              <a:t>Coke TM  BLS 2018</a:t>
            </a:r>
            <a:endParaRPr sz="1333" b="1"/>
          </a:p>
        </p:txBody>
      </p:sp>
      <p:sp>
        <p:nvSpPr>
          <p:cNvPr id="2220" name="Google Shape;2220;p163"/>
          <p:cNvSpPr/>
          <p:nvPr/>
        </p:nvSpPr>
        <p:spPr>
          <a:xfrm rot="555">
            <a:off x="4977200" y="6095056"/>
            <a:ext cx="2477200" cy="24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r>
              <a:rPr lang="en-US" sz="1333" b="1"/>
              <a:t>Coke TM Glass Mix YTD, 2021</a:t>
            </a:r>
            <a:endParaRPr sz="1333" b="1"/>
          </a:p>
        </p:txBody>
      </p:sp>
      <p:cxnSp>
        <p:nvCxnSpPr>
          <p:cNvPr id="2221" name="Google Shape;2221;p163"/>
          <p:cNvCxnSpPr/>
          <p:nvPr/>
        </p:nvCxnSpPr>
        <p:spPr>
          <a:xfrm rot="10800000">
            <a:off x="6490433" y="2026161"/>
            <a:ext cx="0" cy="3776800"/>
          </a:xfrm>
          <a:prstGeom prst="straightConnector1">
            <a:avLst/>
          </a:prstGeom>
          <a:noFill/>
          <a:ln w="9525" cap="flat" cmpd="sng">
            <a:solidFill>
              <a:srgbClr val="B82234"/>
            </a:solidFill>
            <a:prstDash val="lgDash"/>
            <a:round/>
            <a:headEnd type="none" w="med" len="med"/>
            <a:tailEnd type="none" w="med" len="med"/>
          </a:ln>
        </p:spPr>
      </p:cxnSp>
      <p:sp>
        <p:nvSpPr>
          <p:cNvPr id="2222" name="Google Shape;2222;p163"/>
          <p:cNvSpPr/>
          <p:nvPr/>
        </p:nvSpPr>
        <p:spPr>
          <a:xfrm rot="-3673">
            <a:off x="6540143" y="5508608"/>
            <a:ext cx="1123200" cy="2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r>
              <a:rPr lang="en-US" sz="933" b="1"/>
              <a:t>Top 40, Glass Mix Avg. (9.1%)</a:t>
            </a:r>
            <a:endParaRPr sz="933" b="1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redondeado 7">
            <a:extLst>
              <a:ext uri="{FF2B5EF4-FFF2-40B4-BE49-F238E27FC236}">
                <a16:creationId xmlns:a16="http://schemas.microsoft.com/office/drawing/2014/main" id="{6549A35C-F7CF-46FB-B1FC-791F5BBA9662}"/>
              </a:ext>
            </a:extLst>
          </p:cNvPr>
          <p:cNvSpPr/>
          <p:nvPr/>
        </p:nvSpPr>
        <p:spPr>
          <a:xfrm>
            <a:off x="243972" y="601136"/>
            <a:ext cx="11990009" cy="5806167"/>
          </a:xfrm>
          <a:prstGeom prst="roundRect">
            <a:avLst>
              <a:gd name="adj" fmla="val 3808"/>
            </a:avLst>
          </a:prstGeom>
          <a:solidFill>
            <a:schemeClr val="bg1"/>
          </a:solidFill>
          <a:ln>
            <a:noFill/>
          </a:ln>
          <a:effectLst>
            <a:outerShdw blurRad="254000" dist="38100" dir="2700000" sx="102000" sy="102000" algn="tl" rotWithShape="0">
              <a:schemeClr val="tx1">
                <a:lumMod val="75000"/>
                <a:lumOff val="2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object 8">
            <a:extLst>
              <a:ext uri="{FF2B5EF4-FFF2-40B4-BE49-F238E27FC236}">
                <a16:creationId xmlns:a16="http://schemas.microsoft.com/office/drawing/2014/main" id="{10356CE2-80FA-4613-8E3E-B7A29E8A06E6}"/>
              </a:ext>
            </a:extLst>
          </p:cNvPr>
          <p:cNvSpPr txBox="1">
            <a:spLocks/>
          </p:cNvSpPr>
          <p:nvPr/>
        </p:nvSpPr>
        <p:spPr>
          <a:xfrm>
            <a:off x="243972" y="246003"/>
            <a:ext cx="9503064" cy="355133"/>
          </a:xfrm>
          <a:prstGeom prst="rect">
            <a:avLst/>
          </a:prstGeom>
        </p:spPr>
        <p:txBody>
          <a:bodyPr vert="horz" wrap="square" lIns="0" tIns="8925" rIns="0" bIns="0" rtlCol="0" anchor="ctr">
            <a:spAutoFit/>
          </a:bodyPr>
          <a:lstStyle>
            <a:lvl1pPr>
              <a:defRPr sz="3400" b="0" i="0">
                <a:solidFill>
                  <a:srgbClr val="B11116"/>
                </a:solidFill>
                <a:latin typeface="TCCC-UnityHeadline"/>
                <a:ea typeface="+mj-ea"/>
                <a:cs typeface="TCCC-UnityHeadline"/>
              </a:defRPr>
            </a:lvl1pPr>
          </a:lstStyle>
          <a:p>
            <a:pPr marL="8926" defTabSz="642640">
              <a:spcBef>
                <a:spcPts val="70"/>
              </a:spcBef>
              <a:defRPr/>
            </a:pPr>
            <a:r>
              <a:rPr lang="en-US" sz="2249" b="1" dirty="0">
                <a:solidFill>
                  <a:srgbClr val="DD0E1E"/>
                </a:solidFill>
                <a:ea typeface="+mn-ea"/>
              </a:rPr>
              <a:t>What Are The Benefits And Barriers to Address in Returnables?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4F4A8E18-B9AB-46FB-AF68-8325FB5BC15C}"/>
              </a:ext>
            </a:extLst>
          </p:cNvPr>
          <p:cNvSpPr txBox="1"/>
          <p:nvPr/>
        </p:nvSpPr>
        <p:spPr>
          <a:xfrm>
            <a:off x="1426360" y="1921549"/>
            <a:ext cx="1420096" cy="2870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65" b="1" dirty="0">
                <a:solidFill>
                  <a:srgbClr val="34454F"/>
                </a:solidFill>
                <a:latin typeface="TCCC-UnityTextPC"/>
              </a:rPr>
              <a:t>Benefits:</a:t>
            </a:r>
            <a:endParaRPr lang="en-IN" sz="1265" b="1" dirty="0">
              <a:solidFill>
                <a:srgbClr val="34454F"/>
              </a:solidFill>
              <a:latin typeface="TCCC-UnityTextPC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BF479EC3-5774-46A8-9756-F6C4F0B7B0E7}"/>
              </a:ext>
            </a:extLst>
          </p:cNvPr>
          <p:cNvSpPr txBox="1"/>
          <p:nvPr/>
        </p:nvSpPr>
        <p:spPr>
          <a:xfrm>
            <a:off x="6928393" y="1963974"/>
            <a:ext cx="2696418" cy="2870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65" b="1" dirty="0">
                <a:solidFill>
                  <a:srgbClr val="34454F"/>
                </a:solidFill>
                <a:latin typeface="TCCC-UnityTextPC"/>
              </a:rPr>
              <a:t>Barriers to Address:</a:t>
            </a:r>
          </a:p>
        </p:txBody>
      </p:sp>
      <p:sp>
        <p:nvSpPr>
          <p:cNvPr id="175" name="Rectangle: Top Corners Rounded 174">
            <a:extLst>
              <a:ext uri="{FF2B5EF4-FFF2-40B4-BE49-F238E27FC236}">
                <a16:creationId xmlns:a16="http://schemas.microsoft.com/office/drawing/2014/main" id="{0EC51455-0E8D-48FA-8CDD-9DAD198AE398}"/>
              </a:ext>
            </a:extLst>
          </p:cNvPr>
          <p:cNvSpPr/>
          <p:nvPr/>
        </p:nvSpPr>
        <p:spPr>
          <a:xfrm>
            <a:off x="1619214" y="977838"/>
            <a:ext cx="3638347" cy="477283"/>
          </a:xfrm>
          <a:prstGeom prst="round2SameRect">
            <a:avLst/>
          </a:prstGeom>
          <a:solidFill>
            <a:srgbClr val="F4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65" dirty="0">
                <a:solidFill>
                  <a:schemeClr val="bg1"/>
                </a:solidFill>
                <a:latin typeface="TCCC-UnityTextPC"/>
              </a:rPr>
              <a:t>CUSTOMER</a:t>
            </a: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0A80162E-C963-4255-B181-C91203DA616D}"/>
              </a:ext>
            </a:extLst>
          </p:cNvPr>
          <p:cNvSpPr/>
          <p:nvPr/>
        </p:nvSpPr>
        <p:spPr>
          <a:xfrm rot="16200000">
            <a:off x="545283" y="886794"/>
            <a:ext cx="772618" cy="772537"/>
          </a:xfrm>
          <a:custGeom>
            <a:avLst/>
            <a:gdLst>
              <a:gd name="connsiteX0" fmla="*/ 1243524 w 1243809"/>
              <a:gd name="connsiteY0" fmla="*/ 621703 h 1243678"/>
              <a:gd name="connsiteX1" fmla="*/ 1241534 w 1243809"/>
              <a:gd name="connsiteY1" fmla="*/ 671238 h 1243678"/>
              <a:gd name="connsiteX2" fmla="*/ 571921 w 1243809"/>
              <a:gd name="connsiteY2" fmla="*/ 1241456 h 1243678"/>
              <a:gd name="connsiteX3" fmla="*/ 1703 w 1243809"/>
              <a:gd name="connsiteY3" fmla="*/ 671238 h 1243678"/>
              <a:gd name="connsiteX4" fmla="*/ -286 w 1243809"/>
              <a:gd name="connsiteY4" fmla="*/ 621703 h 1243678"/>
              <a:gd name="connsiteX5" fmla="*/ 621619 w 1243809"/>
              <a:gd name="connsiteY5" fmla="*/ -202 h 1243678"/>
              <a:gd name="connsiteX6" fmla="*/ 1243524 w 1243809"/>
              <a:gd name="connsiteY6" fmla="*/ 621703 h 12436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43809" h="1243678">
                <a:moveTo>
                  <a:pt x="1243524" y="621703"/>
                </a:moveTo>
                <a:cubicBezTo>
                  <a:pt x="1243524" y="638335"/>
                  <a:pt x="1243524" y="654967"/>
                  <a:pt x="1241534" y="671238"/>
                </a:cubicBezTo>
                <a:cubicBezTo>
                  <a:pt x="1214091" y="1013611"/>
                  <a:pt x="914294" y="1268899"/>
                  <a:pt x="571921" y="1241456"/>
                </a:cubicBezTo>
                <a:cubicBezTo>
                  <a:pt x="267676" y="1217068"/>
                  <a:pt x="26091" y="975483"/>
                  <a:pt x="1703" y="671238"/>
                </a:cubicBezTo>
                <a:cubicBezTo>
                  <a:pt x="438" y="654967"/>
                  <a:pt x="-286" y="638335"/>
                  <a:pt x="-286" y="621703"/>
                </a:cubicBezTo>
                <a:cubicBezTo>
                  <a:pt x="-286" y="278227"/>
                  <a:pt x="278143" y="-202"/>
                  <a:pt x="621619" y="-202"/>
                </a:cubicBezTo>
                <a:cubicBezTo>
                  <a:pt x="965094" y="-202"/>
                  <a:pt x="1243524" y="278227"/>
                  <a:pt x="1243524" y="621703"/>
                </a:cubicBezTo>
                <a:close/>
              </a:path>
            </a:pathLst>
          </a:custGeom>
          <a:gradFill>
            <a:gsLst>
              <a:gs pos="0">
                <a:srgbClr val="323F4F"/>
              </a:gs>
              <a:gs pos="100000">
                <a:srgbClr val="7B8D97"/>
              </a:gs>
            </a:gsLst>
            <a:lin ang="0" scaled="0"/>
          </a:gradFill>
          <a:ln w="18059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64262" tIns="32131" rIns="64262" bIns="3213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N" sz="1265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FE4318EB-8FB5-457C-8573-1583280ED40E}"/>
              </a:ext>
            </a:extLst>
          </p:cNvPr>
          <p:cNvSpPr/>
          <p:nvPr/>
        </p:nvSpPr>
        <p:spPr>
          <a:xfrm rot="16200000">
            <a:off x="628989" y="970419"/>
            <a:ext cx="605292" cy="605292"/>
          </a:xfrm>
          <a:custGeom>
            <a:avLst/>
            <a:gdLst>
              <a:gd name="connsiteX0" fmla="*/ 974438 w 974437"/>
              <a:gd name="connsiteY0" fmla="*/ 487219 h 974437"/>
              <a:gd name="connsiteX1" fmla="*/ 487219 w 974437"/>
              <a:gd name="connsiteY1" fmla="*/ 974438 h 974437"/>
              <a:gd name="connsiteX2" fmla="*/ 0 w 974437"/>
              <a:gd name="connsiteY2" fmla="*/ 487219 h 974437"/>
              <a:gd name="connsiteX3" fmla="*/ 487219 w 974437"/>
              <a:gd name="connsiteY3" fmla="*/ 0 h 974437"/>
              <a:gd name="connsiteX4" fmla="*/ 974438 w 974437"/>
              <a:gd name="connsiteY4" fmla="*/ 487219 h 9744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74437" h="974437">
                <a:moveTo>
                  <a:pt x="974438" y="487219"/>
                </a:moveTo>
                <a:cubicBezTo>
                  <a:pt x="974438" y="756302"/>
                  <a:pt x="756302" y="974438"/>
                  <a:pt x="487219" y="974438"/>
                </a:cubicBezTo>
                <a:cubicBezTo>
                  <a:pt x="218135" y="974438"/>
                  <a:pt x="0" y="756302"/>
                  <a:pt x="0" y="487219"/>
                </a:cubicBezTo>
                <a:cubicBezTo>
                  <a:pt x="0" y="218135"/>
                  <a:pt x="218136" y="0"/>
                  <a:pt x="487219" y="0"/>
                </a:cubicBezTo>
                <a:cubicBezTo>
                  <a:pt x="756303" y="0"/>
                  <a:pt x="974438" y="218135"/>
                  <a:pt x="974438" y="487219"/>
                </a:cubicBezTo>
                <a:close/>
              </a:path>
            </a:pathLst>
          </a:custGeom>
          <a:solidFill>
            <a:srgbClr val="ED1D24"/>
          </a:solidFill>
          <a:ln w="381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endParaRPr lang="en-IN" sz="1265"/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12AC3D69-595A-4473-8E48-511B8CB5A5B9}"/>
              </a:ext>
            </a:extLst>
          </p:cNvPr>
          <p:cNvGrpSpPr/>
          <p:nvPr/>
        </p:nvGrpSpPr>
        <p:grpSpPr>
          <a:xfrm flipH="1">
            <a:off x="735321" y="1086061"/>
            <a:ext cx="391624" cy="399972"/>
            <a:chOff x="-1370587" y="3571264"/>
            <a:chExt cx="1048033" cy="1070375"/>
          </a:xfrm>
        </p:grpSpPr>
        <p:sp>
          <p:nvSpPr>
            <p:cNvPr id="25" name="object 27">
              <a:extLst>
                <a:ext uri="{FF2B5EF4-FFF2-40B4-BE49-F238E27FC236}">
                  <a16:creationId xmlns:a16="http://schemas.microsoft.com/office/drawing/2014/main" id="{A31CD72A-921B-42DB-94A4-23ED89B5AD19}"/>
                </a:ext>
              </a:extLst>
            </p:cNvPr>
            <p:cNvSpPr/>
            <p:nvPr/>
          </p:nvSpPr>
          <p:spPr>
            <a:xfrm>
              <a:off x="-765065" y="3817777"/>
              <a:ext cx="341059" cy="823676"/>
            </a:xfrm>
            <a:custGeom>
              <a:avLst/>
              <a:gdLst/>
              <a:ahLst/>
              <a:cxnLst/>
              <a:rect l="l" t="t" r="r" b="b"/>
              <a:pathLst>
                <a:path w="295275" h="713104">
                  <a:moveTo>
                    <a:pt x="122745" y="88747"/>
                  </a:moveTo>
                  <a:lnTo>
                    <a:pt x="110185" y="0"/>
                  </a:lnTo>
                  <a:lnTo>
                    <a:pt x="104711" y="825"/>
                  </a:lnTo>
                  <a:lnTo>
                    <a:pt x="98552" y="2298"/>
                  </a:lnTo>
                  <a:lnTo>
                    <a:pt x="53555" y="32804"/>
                  </a:lnTo>
                  <a:lnTo>
                    <a:pt x="26327" y="79857"/>
                  </a:lnTo>
                  <a:lnTo>
                    <a:pt x="7277" y="154127"/>
                  </a:lnTo>
                  <a:lnTo>
                    <a:pt x="1917" y="203923"/>
                  </a:lnTo>
                  <a:lnTo>
                    <a:pt x="0" y="263626"/>
                  </a:lnTo>
                  <a:lnTo>
                    <a:pt x="127" y="280797"/>
                  </a:lnTo>
                  <a:lnTo>
                    <a:pt x="2273" y="336918"/>
                  </a:lnTo>
                  <a:lnTo>
                    <a:pt x="32791" y="365721"/>
                  </a:lnTo>
                  <a:lnTo>
                    <a:pt x="34620" y="365671"/>
                  </a:lnTo>
                  <a:lnTo>
                    <a:pt x="63373" y="333324"/>
                  </a:lnTo>
                  <a:lnTo>
                    <a:pt x="62395" y="314667"/>
                  </a:lnTo>
                  <a:lnTo>
                    <a:pt x="61722" y="296849"/>
                  </a:lnTo>
                  <a:lnTo>
                    <a:pt x="63449" y="201510"/>
                  </a:lnTo>
                  <a:lnTo>
                    <a:pt x="69494" y="153162"/>
                  </a:lnTo>
                  <a:lnTo>
                    <a:pt x="87845" y="91795"/>
                  </a:lnTo>
                  <a:lnTo>
                    <a:pt x="87845" y="256222"/>
                  </a:lnTo>
                  <a:lnTo>
                    <a:pt x="122440" y="88747"/>
                  </a:lnTo>
                  <a:lnTo>
                    <a:pt x="122745" y="88747"/>
                  </a:lnTo>
                  <a:close/>
                </a:path>
                <a:path w="295275" h="713104">
                  <a:moveTo>
                    <a:pt x="294741" y="449999"/>
                  </a:moveTo>
                  <a:lnTo>
                    <a:pt x="278003" y="456133"/>
                  </a:lnTo>
                  <a:lnTo>
                    <a:pt x="255549" y="462889"/>
                  </a:lnTo>
                  <a:lnTo>
                    <a:pt x="229044" y="468693"/>
                  </a:lnTo>
                  <a:lnTo>
                    <a:pt x="200152" y="471957"/>
                  </a:lnTo>
                  <a:lnTo>
                    <a:pt x="200152" y="665581"/>
                  </a:lnTo>
                  <a:lnTo>
                    <a:pt x="203873" y="683996"/>
                  </a:lnTo>
                  <a:lnTo>
                    <a:pt x="214007" y="699020"/>
                  </a:lnTo>
                  <a:lnTo>
                    <a:pt x="229044" y="709155"/>
                  </a:lnTo>
                  <a:lnTo>
                    <a:pt x="247446" y="712876"/>
                  </a:lnTo>
                  <a:lnTo>
                    <a:pt x="265849" y="709155"/>
                  </a:lnTo>
                  <a:lnTo>
                    <a:pt x="280885" y="699020"/>
                  </a:lnTo>
                  <a:lnTo>
                    <a:pt x="291020" y="683996"/>
                  </a:lnTo>
                  <a:lnTo>
                    <a:pt x="294741" y="665581"/>
                  </a:lnTo>
                  <a:lnTo>
                    <a:pt x="294741" y="449999"/>
                  </a:lnTo>
                  <a:close/>
                </a:path>
              </a:pathLst>
            </a:custGeom>
            <a:solidFill>
              <a:srgbClr val="F3F3F3"/>
            </a:solidFill>
          </p:spPr>
          <p:txBody>
            <a:bodyPr wrap="square" lIns="0" tIns="0" rIns="0" bIns="0" rtlCol="0"/>
            <a:lstStyle/>
            <a:p>
              <a:pPr defTabSz="642640">
                <a:defRPr/>
              </a:pPr>
              <a:endParaRPr sz="1265" kern="0">
                <a:solidFill>
                  <a:prstClr val="black"/>
                </a:solidFill>
              </a:endParaRPr>
            </a:p>
          </p:txBody>
        </p:sp>
        <p:pic>
          <p:nvPicPr>
            <p:cNvPr id="26" name="object 28">
              <a:extLst>
                <a:ext uri="{FF2B5EF4-FFF2-40B4-BE49-F238E27FC236}">
                  <a16:creationId xmlns:a16="http://schemas.microsoft.com/office/drawing/2014/main" id="{1D780BAE-6B57-4EA0-89EF-2CC6249B381B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-617062" y="3788675"/>
              <a:ext cx="145914" cy="131597"/>
            </a:xfrm>
            <a:prstGeom prst="rect">
              <a:avLst/>
            </a:prstGeom>
            <a:gradFill flip="none" rotWithShape="1">
              <a:gsLst>
                <a:gs pos="100000">
                  <a:srgbClr val="FEFEFE">
                    <a:alpha val="0"/>
                  </a:srgbClr>
                </a:gs>
                <a:gs pos="0">
                  <a:srgbClr val="C8CFD3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</p:pic>
        <p:sp>
          <p:nvSpPr>
            <p:cNvPr id="27" name="object 29">
              <a:extLst>
                <a:ext uri="{FF2B5EF4-FFF2-40B4-BE49-F238E27FC236}">
                  <a16:creationId xmlns:a16="http://schemas.microsoft.com/office/drawing/2014/main" id="{B17FF3FC-DB1C-432B-9255-A90C69CC859E}"/>
                </a:ext>
              </a:extLst>
            </p:cNvPr>
            <p:cNvSpPr/>
            <p:nvPr/>
          </p:nvSpPr>
          <p:spPr>
            <a:xfrm>
              <a:off x="-663613" y="3817777"/>
              <a:ext cx="341059" cy="823676"/>
            </a:xfrm>
            <a:custGeom>
              <a:avLst/>
              <a:gdLst/>
              <a:ahLst/>
              <a:cxnLst/>
              <a:rect l="l" t="t" r="r" b="b"/>
              <a:pathLst>
                <a:path w="295275" h="713104">
                  <a:moveTo>
                    <a:pt x="94589" y="472033"/>
                  </a:moveTo>
                  <a:lnTo>
                    <a:pt x="66167" y="469099"/>
                  </a:lnTo>
                  <a:lnTo>
                    <a:pt x="39878" y="463600"/>
                  </a:lnTo>
                  <a:lnTo>
                    <a:pt x="17297" y="457009"/>
                  </a:lnTo>
                  <a:lnTo>
                    <a:pt x="0" y="450824"/>
                  </a:lnTo>
                  <a:lnTo>
                    <a:pt x="0" y="665581"/>
                  </a:lnTo>
                  <a:lnTo>
                    <a:pt x="3721" y="683983"/>
                  </a:lnTo>
                  <a:lnTo>
                    <a:pt x="13855" y="699020"/>
                  </a:lnTo>
                  <a:lnTo>
                    <a:pt x="28879" y="709155"/>
                  </a:lnTo>
                  <a:lnTo>
                    <a:pt x="47294" y="712863"/>
                  </a:lnTo>
                  <a:lnTo>
                    <a:pt x="65697" y="709155"/>
                  </a:lnTo>
                  <a:lnTo>
                    <a:pt x="80733" y="699020"/>
                  </a:lnTo>
                  <a:lnTo>
                    <a:pt x="90868" y="683983"/>
                  </a:lnTo>
                  <a:lnTo>
                    <a:pt x="94589" y="665581"/>
                  </a:lnTo>
                  <a:lnTo>
                    <a:pt x="94589" y="472033"/>
                  </a:lnTo>
                  <a:close/>
                </a:path>
                <a:path w="295275" h="713104">
                  <a:moveTo>
                    <a:pt x="294728" y="263626"/>
                  </a:moveTo>
                  <a:lnTo>
                    <a:pt x="291376" y="186296"/>
                  </a:lnTo>
                  <a:lnTo>
                    <a:pt x="282244" y="125857"/>
                  </a:lnTo>
                  <a:lnTo>
                    <a:pt x="268427" y="79857"/>
                  </a:lnTo>
                  <a:lnTo>
                    <a:pt x="250990" y="45859"/>
                  </a:lnTo>
                  <a:lnTo>
                    <a:pt x="220497" y="13906"/>
                  </a:lnTo>
                  <a:lnTo>
                    <a:pt x="184556" y="0"/>
                  </a:lnTo>
                  <a:lnTo>
                    <a:pt x="171272" y="93853"/>
                  </a:lnTo>
                  <a:lnTo>
                    <a:pt x="206908" y="266382"/>
                  </a:lnTo>
                  <a:lnTo>
                    <a:pt x="206908" y="91960"/>
                  </a:lnTo>
                  <a:lnTo>
                    <a:pt x="209181" y="96621"/>
                  </a:lnTo>
                  <a:lnTo>
                    <a:pt x="221373" y="134302"/>
                  </a:lnTo>
                  <a:lnTo>
                    <a:pt x="231965" y="211251"/>
                  </a:lnTo>
                  <a:lnTo>
                    <a:pt x="233527" y="263626"/>
                  </a:lnTo>
                  <a:lnTo>
                    <a:pt x="233413" y="279844"/>
                  </a:lnTo>
                  <a:lnTo>
                    <a:pt x="232346" y="314680"/>
                  </a:lnTo>
                  <a:lnTo>
                    <a:pt x="231381" y="333336"/>
                  </a:lnTo>
                  <a:lnTo>
                    <a:pt x="233083" y="345376"/>
                  </a:lnTo>
                  <a:lnTo>
                    <a:pt x="239064" y="355460"/>
                  </a:lnTo>
                  <a:lnTo>
                    <a:pt x="248386" y="362572"/>
                  </a:lnTo>
                  <a:lnTo>
                    <a:pt x="261340" y="365721"/>
                  </a:lnTo>
                  <a:lnTo>
                    <a:pt x="273367" y="363512"/>
                  </a:lnTo>
                  <a:lnTo>
                    <a:pt x="293484" y="317411"/>
                  </a:lnTo>
                  <a:lnTo>
                    <a:pt x="294601" y="280797"/>
                  </a:lnTo>
                  <a:lnTo>
                    <a:pt x="294728" y="263626"/>
                  </a:lnTo>
                  <a:close/>
                </a:path>
              </a:pathLst>
            </a:custGeom>
            <a:solidFill>
              <a:srgbClr val="F3F3F3"/>
            </a:solidFill>
          </p:spPr>
          <p:txBody>
            <a:bodyPr wrap="square" lIns="0" tIns="0" rIns="0" bIns="0" rtlCol="0"/>
            <a:lstStyle/>
            <a:p>
              <a:pPr defTabSz="642640">
                <a:defRPr/>
              </a:pPr>
              <a:endParaRPr sz="1265" kern="0">
                <a:solidFill>
                  <a:prstClr val="black"/>
                </a:solidFill>
              </a:endParaRPr>
            </a:p>
          </p:txBody>
        </p:sp>
        <p:pic>
          <p:nvPicPr>
            <p:cNvPr id="28" name="object 30">
              <a:extLst>
                <a:ext uri="{FF2B5EF4-FFF2-40B4-BE49-F238E27FC236}">
                  <a16:creationId xmlns:a16="http://schemas.microsoft.com/office/drawing/2014/main" id="{5FEBCC5C-4291-4B12-87C9-09149C658970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-643515" y="3593224"/>
              <a:ext cx="198812" cy="198826"/>
            </a:xfrm>
            <a:prstGeom prst="rect">
              <a:avLst/>
            </a:prstGeom>
            <a:gradFill flip="none" rotWithShape="1">
              <a:gsLst>
                <a:gs pos="100000">
                  <a:srgbClr val="FEFEFE">
                    <a:alpha val="0"/>
                  </a:srgbClr>
                </a:gs>
                <a:gs pos="0">
                  <a:srgbClr val="C8CFD3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</p:pic>
        <p:pic>
          <p:nvPicPr>
            <p:cNvPr id="29" name="object 31">
              <a:extLst>
                <a:ext uri="{FF2B5EF4-FFF2-40B4-BE49-F238E27FC236}">
                  <a16:creationId xmlns:a16="http://schemas.microsoft.com/office/drawing/2014/main" id="{692E9991-98CC-4A0E-9B4A-E580F4F8DE53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-974596" y="3618643"/>
              <a:ext cx="210605" cy="257723"/>
            </a:xfrm>
            <a:prstGeom prst="rect">
              <a:avLst/>
            </a:prstGeom>
            <a:gradFill flip="none" rotWithShape="1">
              <a:gsLst>
                <a:gs pos="100000">
                  <a:srgbClr val="FEFEFE">
                    <a:alpha val="0"/>
                  </a:srgbClr>
                </a:gs>
                <a:gs pos="0">
                  <a:srgbClr val="C8CFD3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</p:pic>
        <p:sp>
          <p:nvSpPr>
            <p:cNvPr id="30" name="object 32">
              <a:extLst>
                <a:ext uri="{FF2B5EF4-FFF2-40B4-BE49-F238E27FC236}">
                  <a16:creationId xmlns:a16="http://schemas.microsoft.com/office/drawing/2014/main" id="{312D2E16-30DC-48D2-859B-679CF8897FF5}"/>
                </a:ext>
              </a:extLst>
            </p:cNvPr>
            <p:cNvSpPr/>
            <p:nvPr/>
          </p:nvSpPr>
          <p:spPr>
            <a:xfrm>
              <a:off x="-1370587" y="3817229"/>
              <a:ext cx="542027" cy="824410"/>
            </a:xfrm>
            <a:custGeom>
              <a:avLst/>
              <a:gdLst/>
              <a:ahLst/>
              <a:cxnLst/>
              <a:rect l="l" t="t" r="r" b="b"/>
              <a:pathLst>
                <a:path w="469264" h="713740">
                  <a:moveTo>
                    <a:pt x="280492" y="0"/>
                  </a:moveTo>
                  <a:lnTo>
                    <a:pt x="127507" y="0"/>
                  </a:lnTo>
                  <a:lnTo>
                    <a:pt x="122618" y="1371"/>
                  </a:lnTo>
                  <a:lnTo>
                    <a:pt x="118389" y="3708"/>
                  </a:lnTo>
                  <a:lnTo>
                    <a:pt x="106855" y="9221"/>
                  </a:lnTo>
                  <a:lnTo>
                    <a:pt x="75214" y="33221"/>
                  </a:lnTo>
                  <a:lnTo>
                    <a:pt x="39880" y="81807"/>
                  </a:lnTo>
                  <a:lnTo>
                    <a:pt x="24101" y="117847"/>
                  </a:lnTo>
                  <a:lnTo>
                    <a:pt x="11446" y="162533"/>
                  </a:lnTo>
                  <a:lnTo>
                    <a:pt x="3037" y="216733"/>
                  </a:lnTo>
                  <a:lnTo>
                    <a:pt x="0" y="281317"/>
                  </a:lnTo>
                  <a:lnTo>
                    <a:pt x="406" y="306362"/>
                  </a:lnTo>
                  <a:lnTo>
                    <a:pt x="3102" y="317976"/>
                  </a:lnTo>
                  <a:lnTo>
                    <a:pt x="9734" y="327380"/>
                  </a:lnTo>
                  <a:lnTo>
                    <a:pt x="19348" y="333679"/>
                  </a:lnTo>
                  <a:lnTo>
                    <a:pt x="31978" y="335965"/>
                  </a:lnTo>
                  <a:lnTo>
                    <a:pt x="43812" y="333177"/>
                  </a:lnTo>
                  <a:lnTo>
                    <a:pt x="53327" y="326309"/>
                  </a:lnTo>
                  <a:lnTo>
                    <a:pt x="59574" y="316375"/>
                  </a:lnTo>
                  <a:lnTo>
                    <a:pt x="61607" y="304393"/>
                  </a:lnTo>
                  <a:lnTo>
                    <a:pt x="61226" y="281317"/>
                  </a:lnTo>
                  <a:lnTo>
                    <a:pt x="64981" y="213504"/>
                  </a:lnTo>
                  <a:lnTo>
                    <a:pt x="74695" y="161191"/>
                  </a:lnTo>
                  <a:lnTo>
                    <a:pt x="88151" y="122408"/>
                  </a:lnTo>
                  <a:lnTo>
                    <a:pt x="103136" y="95186"/>
                  </a:lnTo>
                  <a:lnTo>
                    <a:pt x="103136" y="666064"/>
                  </a:lnTo>
                  <a:lnTo>
                    <a:pt x="106854" y="684465"/>
                  </a:lnTo>
                  <a:lnTo>
                    <a:pt x="116992" y="699490"/>
                  </a:lnTo>
                  <a:lnTo>
                    <a:pt x="132026" y="709619"/>
                  </a:lnTo>
                  <a:lnTo>
                    <a:pt x="150431" y="713333"/>
                  </a:lnTo>
                  <a:lnTo>
                    <a:pt x="168836" y="709619"/>
                  </a:lnTo>
                  <a:lnTo>
                    <a:pt x="183870" y="699490"/>
                  </a:lnTo>
                  <a:lnTo>
                    <a:pt x="194008" y="684465"/>
                  </a:lnTo>
                  <a:lnTo>
                    <a:pt x="197726" y="666064"/>
                  </a:lnTo>
                  <a:lnTo>
                    <a:pt x="197726" y="320751"/>
                  </a:lnTo>
                  <a:lnTo>
                    <a:pt x="215455" y="320751"/>
                  </a:lnTo>
                  <a:lnTo>
                    <a:pt x="215455" y="666064"/>
                  </a:lnTo>
                  <a:lnTo>
                    <a:pt x="219171" y="684465"/>
                  </a:lnTo>
                  <a:lnTo>
                    <a:pt x="229306" y="699490"/>
                  </a:lnTo>
                  <a:lnTo>
                    <a:pt x="244339" y="709619"/>
                  </a:lnTo>
                  <a:lnTo>
                    <a:pt x="262750" y="713333"/>
                  </a:lnTo>
                  <a:lnTo>
                    <a:pt x="281155" y="709619"/>
                  </a:lnTo>
                  <a:lnTo>
                    <a:pt x="296189" y="699490"/>
                  </a:lnTo>
                  <a:lnTo>
                    <a:pt x="306327" y="684465"/>
                  </a:lnTo>
                  <a:lnTo>
                    <a:pt x="310045" y="666064"/>
                  </a:lnTo>
                  <a:lnTo>
                    <a:pt x="310045" y="120345"/>
                  </a:lnTo>
                  <a:lnTo>
                    <a:pt x="317957" y="128066"/>
                  </a:lnTo>
                  <a:lnTo>
                    <a:pt x="359836" y="150970"/>
                  </a:lnTo>
                  <a:lnTo>
                    <a:pt x="376212" y="152793"/>
                  </a:lnTo>
                  <a:lnTo>
                    <a:pt x="390489" y="151112"/>
                  </a:lnTo>
                  <a:lnTo>
                    <a:pt x="428967" y="128651"/>
                  </a:lnTo>
                  <a:lnTo>
                    <a:pt x="458387" y="84891"/>
                  </a:lnTo>
                  <a:lnTo>
                    <a:pt x="469108" y="53545"/>
                  </a:lnTo>
                  <a:lnTo>
                    <a:pt x="466637" y="42081"/>
                  </a:lnTo>
                  <a:lnTo>
                    <a:pt x="460044" y="32379"/>
                  </a:lnTo>
                  <a:lnTo>
                    <a:pt x="449872" y="25717"/>
                  </a:lnTo>
                  <a:lnTo>
                    <a:pt x="437922" y="23528"/>
                  </a:lnTo>
                  <a:lnTo>
                    <a:pt x="426456" y="26006"/>
                  </a:lnTo>
                  <a:lnTo>
                    <a:pt x="416757" y="32604"/>
                  </a:lnTo>
                  <a:lnTo>
                    <a:pt x="410108" y="42773"/>
                  </a:lnTo>
                  <a:lnTo>
                    <a:pt x="403323" y="58220"/>
                  </a:lnTo>
                  <a:lnTo>
                    <a:pt x="396795" y="70375"/>
                  </a:lnTo>
                  <a:lnTo>
                    <a:pt x="390777" y="79422"/>
                  </a:lnTo>
                  <a:lnTo>
                    <a:pt x="385521" y="85547"/>
                  </a:lnTo>
                  <a:lnTo>
                    <a:pt x="378828" y="91897"/>
                  </a:lnTo>
                  <a:lnTo>
                    <a:pt x="377012" y="91389"/>
                  </a:lnTo>
                  <a:lnTo>
                    <a:pt x="373862" y="91757"/>
                  </a:lnTo>
                  <a:lnTo>
                    <a:pt x="343817" y="66100"/>
                  </a:lnTo>
                  <a:lnTo>
                    <a:pt x="314667" y="18135"/>
                  </a:lnTo>
                  <a:lnTo>
                    <a:pt x="309370" y="10085"/>
                  </a:lnTo>
                  <a:lnTo>
                    <a:pt x="302110" y="4267"/>
                  </a:lnTo>
                  <a:lnTo>
                    <a:pt x="293522" y="915"/>
                  </a:lnTo>
                  <a:lnTo>
                    <a:pt x="280492" y="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</p:spPr>
          <p:txBody>
            <a:bodyPr wrap="square" lIns="0" tIns="0" rIns="0" bIns="0" rtlCol="0"/>
            <a:lstStyle/>
            <a:p>
              <a:pPr defTabSz="642640">
                <a:defRPr/>
              </a:pPr>
              <a:endParaRPr sz="1265" kern="0">
                <a:solidFill>
                  <a:prstClr val="black"/>
                </a:solidFill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1A789D73-0AFB-4DFA-9493-ED8741BCEBC7}"/>
                </a:ext>
              </a:extLst>
            </p:cNvPr>
            <p:cNvSpPr/>
            <p:nvPr/>
          </p:nvSpPr>
          <p:spPr>
            <a:xfrm>
              <a:off x="-1230549" y="3571264"/>
              <a:ext cx="198000" cy="198000"/>
            </a:xfrm>
            <a:prstGeom prst="ellipse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265"/>
            </a:p>
          </p:txBody>
        </p:sp>
      </p:grpSp>
      <p:graphicFrame>
        <p:nvGraphicFramePr>
          <p:cNvPr id="32" name="Table 126">
            <a:extLst>
              <a:ext uri="{FF2B5EF4-FFF2-40B4-BE49-F238E27FC236}">
                <a16:creationId xmlns:a16="http://schemas.microsoft.com/office/drawing/2014/main" id="{749B90DB-C494-4CF7-BE5D-A02B4280A3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9331540"/>
              </p:ext>
            </p:extLst>
          </p:nvPr>
        </p:nvGraphicFramePr>
        <p:xfrm>
          <a:off x="1426360" y="2439614"/>
          <a:ext cx="4271920" cy="29831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71920">
                  <a:extLst>
                    <a:ext uri="{9D8B030D-6E8A-4147-A177-3AD203B41FA5}">
                      <a16:colId xmlns:a16="http://schemas.microsoft.com/office/drawing/2014/main" val="2074642368"/>
                    </a:ext>
                  </a:extLst>
                </a:gridCol>
              </a:tblGrid>
              <a:tr h="2983195">
                <a:tc>
                  <a:txBody>
                    <a:bodyPr/>
                    <a:lstStyle/>
                    <a:p>
                      <a:pPr marL="146300" indent="-182198" algn="l" defTabSz="914400" rtl="0" eaLnBrk="1" latinLnBrk="0" hangingPunct="1">
                        <a:lnSpc>
                          <a:spcPct val="115000"/>
                        </a:lnSpc>
                        <a:buClr>
                          <a:srgbClr val="000000"/>
                        </a:buClr>
                        <a:buSzPts val="1000"/>
                        <a:buFont typeface="Arial" panose="020B0604020202020204" pitchFamily="34" charset="0"/>
                        <a:buChar char="•"/>
                      </a:pPr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creased Loyalty due to same store visit</a:t>
                      </a:r>
                    </a:p>
                    <a:p>
                      <a:pPr marL="146300" indent="-182198" algn="l" defTabSz="914400" rtl="0" eaLnBrk="1" latinLnBrk="0" hangingPunct="1">
                        <a:lnSpc>
                          <a:spcPct val="115000"/>
                        </a:lnSpc>
                        <a:buClr>
                          <a:srgbClr val="000000"/>
                        </a:buClr>
                        <a:buSzPts val="1000"/>
                        <a:buFont typeface="Arial" panose="020B0604020202020204" pitchFamily="34" charset="0"/>
                        <a:buChar char="•"/>
                      </a:pPr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hoppers visit stores just because of these products</a:t>
                      </a:r>
                    </a:p>
                    <a:p>
                      <a:pPr marL="146300" indent="-182198" algn="l" defTabSz="914400" rtl="0" eaLnBrk="1" latinLnBrk="0" hangingPunct="1">
                        <a:lnSpc>
                          <a:spcPct val="115000"/>
                        </a:lnSpc>
                        <a:buClr>
                          <a:srgbClr val="000000"/>
                        </a:buClr>
                        <a:buSzPts val="1000"/>
                        <a:buFont typeface="Arial" panose="020B0604020202020204" pitchFamily="34" charset="0"/>
                        <a:buChar char="•"/>
                      </a:pPr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oster loyalty in periods of crisis/ economic downturns</a:t>
                      </a:r>
                    </a:p>
                    <a:p>
                      <a:pPr marL="146300" indent="-182198" algn="l" defTabSz="914400" rtl="0" eaLnBrk="1" latinLnBrk="0" hangingPunct="1">
                        <a:lnSpc>
                          <a:spcPct val="115000"/>
                        </a:lnSpc>
                        <a:buClr>
                          <a:srgbClr val="000000"/>
                        </a:buClr>
                        <a:buSzPts val="1000"/>
                        <a:buFont typeface="Arial" panose="020B0604020202020204" pitchFamily="34" charset="0"/>
                        <a:buChar char="•"/>
                      </a:pPr>
                      <a:r>
                        <a:rPr lang="en-US" sz="20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mportant tool to increase frequency</a:t>
                      </a:r>
                    </a:p>
                  </a:txBody>
                  <a:tcPr marL="64262" marR="64262" marT="32131" marB="126501">
                    <a:lnL w="12700" cap="flat" cmpd="sng" algn="ctr">
                      <a:solidFill>
                        <a:srgbClr val="8585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585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585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585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012330"/>
                  </a:ext>
                </a:extLst>
              </a:tr>
            </a:tbl>
          </a:graphicData>
        </a:graphic>
      </p:graphicFrame>
      <p:graphicFrame>
        <p:nvGraphicFramePr>
          <p:cNvPr id="33" name="Table 32">
            <a:extLst>
              <a:ext uri="{FF2B5EF4-FFF2-40B4-BE49-F238E27FC236}">
                <a16:creationId xmlns:a16="http://schemas.microsoft.com/office/drawing/2014/main" id="{14080492-298B-4F98-9A7F-B2422AE07F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7469184"/>
              </p:ext>
            </p:extLst>
          </p:nvPr>
        </p:nvGraphicFramePr>
        <p:xfrm>
          <a:off x="6154119" y="2462215"/>
          <a:ext cx="4381916" cy="29605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81916">
                  <a:extLst>
                    <a:ext uri="{9D8B030D-6E8A-4147-A177-3AD203B41FA5}">
                      <a16:colId xmlns:a16="http://schemas.microsoft.com/office/drawing/2014/main" val="2074642368"/>
                    </a:ext>
                  </a:extLst>
                </a:gridCol>
              </a:tblGrid>
              <a:tr h="2960593">
                <a:tc>
                  <a:txBody>
                    <a:bodyPr/>
                    <a:lstStyle/>
                    <a:p>
                      <a:pPr marL="146300" indent="-182198" algn="l" defTabSz="914400" rtl="0" eaLnBrk="1" latinLnBrk="0" hangingPunct="1">
                        <a:lnSpc>
                          <a:spcPct val="115000"/>
                        </a:lnSpc>
                        <a:buClr>
                          <a:srgbClr val="000000"/>
                        </a:buClr>
                        <a:buSzPts val="1000"/>
                        <a:buFont typeface="Arial" panose="020B0604020202020204" pitchFamily="34" charset="0"/>
                        <a:buChar char="•"/>
                      </a:pPr>
                      <a:r>
                        <a:rPr lang="en-US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eed space for empty crates and bottles</a:t>
                      </a:r>
                    </a:p>
                    <a:p>
                      <a:pPr marL="146300" indent="-182198" algn="l" defTabSz="914400" rtl="0" eaLnBrk="1" latinLnBrk="0" hangingPunct="1">
                        <a:lnSpc>
                          <a:spcPct val="115000"/>
                        </a:lnSpc>
                        <a:buClr>
                          <a:srgbClr val="000000"/>
                        </a:buClr>
                        <a:buSzPts val="1000"/>
                        <a:buFont typeface="Arial" panose="020B0604020202020204" pitchFamily="34" charset="0"/>
                        <a:buChar char="•"/>
                      </a:pPr>
                      <a:r>
                        <a:rPr lang="en-US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eed to buy and manage bottles and crates</a:t>
                      </a:r>
                    </a:p>
                    <a:p>
                      <a:pPr marL="146300" indent="-182198" algn="l" defTabSz="914400" rtl="0" eaLnBrk="1" latinLnBrk="0" hangingPunct="1">
                        <a:lnSpc>
                          <a:spcPct val="115000"/>
                        </a:lnSpc>
                        <a:buClr>
                          <a:srgbClr val="000000"/>
                        </a:buClr>
                        <a:buSzPts val="1000"/>
                        <a:buFont typeface="Arial" panose="020B0604020202020204" pitchFamily="34" charset="0"/>
                        <a:buChar char="•"/>
                      </a:pPr>
                      <a:r>
                        <a:rPr lang="en-US" sz="2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se of deposit schemes with their shoppers</a:t>
                      </a:r>
                    </a:p>
                  </a:txBody>
                  <a:tcPr marL="64262" marR="64262" marT="32131" marB="126501">
                    <a:lnL w="12700" cap="flat" cmpd="sng" algn="ctr">
                      <a:solidFill>
                        <a:srgbClr val="8585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8585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8585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85858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0123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43041497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CuadroTexto 53">
            <a:extLst>
              <a:ext uri="{FF2B5EF4-FFF2-40B4-BE49-F238E27FC236}">
                <a16:creationId xmlns:a16="http://schemas.microsoft.com/office/drawing/2014/main" id="{1A833673-8EE0-4E78-AEDE-3DB94EFB5E0A}"/>
              </a:ext>
            </a:extLst>
          </p:cNvPr>
          <p:cNvSpPr txBox="1"/>
          <p:nvPr/>
        </p:nvSpPr>
        <p:spPr>
          <a:xfrm>
            <a:off x="0" y="11132"/>
            <a:ext cx="1076591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4000" b="1" kern="0">
                <a:solidFill>
                  <a:srgbClr val="E82101"/>
                </a:solidFill>
                <a:latin typeface="Calibri" panose="020F0502020204030204"/>
                <a:cs typeface="Arial" pitchFamily="34" charset="0"/>
              </a:defRPr>
            </a:lvl1pPr>
          </a:lstStyle>
          <a:p>
            <a:r>
              <a:rPr lang="en-US" sz="3200" dirty="0"/>
              <a:t>Relationship between Disposable income and KO </a:t>
            </a:r>
            <a:r>
              <a:rPr lang="en-US" sz="3200" dirty="0" err="1"/>
              <a:t>Percaps</a:t>
            </a:r>
            <a:endParaRPr lang="en-US" sz="32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74B2562-D53C-4A85-A30C-C76B67B7583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1272" t="30107" r="18325" b="25376"/>
          <a:stretch/>
        </p:blipFill>
        <p:spPr>
          <a:xfrm>
            <a:off x="648930" y="828594"/>
            <a:ext cx="10087897" cy="556851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05F58AB-9028-45C8-96DD-4BE597FDF71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163" t="88516" r="71828" b="9480"/>
          <a:stretch/>
        </p:blipFill>
        <p:spPr>
          <a:xfrm>
            <a:off x="-201562" y="6596146"/>
            <a:ext cx="4404851" cy="250722"/>
          </a:xfrm>
          <a:prstGeom prst="rect">
            <a:avLst/>
          </a:prstGeom>
        </p:spPr>
      </p:pic>
      <p:sp>
        <p:nvSpPr>
          <p:cNvPr id="4" name="Oval 3">
            <a:extLst>
              <a:ext uri="{FF2B5EF4-FFF2-40B4-BE49-F238E27FC236}">
                <a16:creationId xmlns:a16="http://schemas.microsoft.com/office/drawing/2014/main" id="{F4591CC8-4861-45DA-BD46-2BD3C85B86DE}"/>
              </a:ext>
            </a:extLst>
          </p:cNvPr>
          <p:cNvSpPr/>
          <p:nvPr/>
        </p:nvSpPr>
        <p:spPr>
          <a:xfrm rot="20158648">
            <a:off x="6502083" y="2315497"/>
            <a:ext cx="4535008" cy="1873045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0F0FBF7-EDBC-4B50-8C6D-42F14BDB170C}"/>
              </a:ext>
            </a:extLst>
          </p:cNvPr>
          <p:cNvSpPr txBox="1"/>
          <p:nvPr/>
        </p:nvSpPr>
        <p:spPr>
          <a:xfrm>
            <a:off x="3955612" y="3232947"/>
            <a:ext cx="879936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Uzbekistan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62DF264-AF06-4820-9890-345B4C3C40C0}"/>
              </a:ext>
            </a:extLst>
          </p:cNvPr>
          <p:cNvCxnSpPr/>
          <p:nvPr/>
        </p:nvCxnSpPr>
        <p:spPr>
          <a:xfrm>
            <a:off x="-461913" y="3438367"/>
            <a:ext cx="1278274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CF1B611-AEEB-4908-B2FC-C8F8033FCB91}"/>
              </a:ext>
            </a:extLst>
          </p:cNvPr>
          <p:cNvCxnSpPr/>
          <p:nvPr/>
        </p:nvCxnSpPr>
        <p:spPr>
          <a:xfrm>
            <a:off x="3864990" y="480767"/>
            <a:ext cx="0" cy="611537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9516AA91-DCE2-4D33-9CBC-6EE6BB9FB193}"/>
              </a:ext>
            </a:extLst>
          </p:cNvPr>
          <p:cNvSpPr txBox="1"/>
          <p:nvPr/>
        </p:nvSpPr>
        <p:spPr>
          <a:xfrm>
            <a:off x="4002344" y="2066370"/>
            <a:ext cx="597934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   </a:t>
            </a:r>
          </a:p>
        </p:txBody>
      </p:sp>
      <p:sp>
        <p:nvSpPr>
          <p:cNvPr id="10" name="Arrow: Down 9">
            <a:extLst>
              <a:ext uri="{FF2B5EF4-FFF2-40B4-BE49-F238E27FC236}">
                <a16:creationId xmlns:a16="http://schemas.microsoft.com/office/drawing/2014/main" id="{F330C944-E5B9-472A-8849-C73523626589}"/>
              </a:ext>
            </a:extLst>
          </p:cNvPr>
          <p:cNvSpPr/>
          <p:nvPr/>
        </p:nvSpPr>
        <p:spPr>
          <a:xfrm rot="10800000">
            <a:off x="4203289" y="2291167"/>
            <a:ext cx="298965" cy="742747"/>
          </a:xfrm>
          <a:prstGeom prst="downArrow">
            <a:avLst/>
          </a:prstGeom>
          <a:solidFill>
            <a:srgbClr val="FF0000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111345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987" y="297477"/>
            <a:ext cx="2792241" cy="9127998"/>
          </a:xfrm>
          <a:prstGeom prst="rect">
            <a:avLst/>
          </a:prstGeom>
        </p:spPr>
      </p:pic>
      <p:grpSp>
        <p:nvGrpSpPr>
          <p:cNvPr id="23" name="Agrupar 22"/>
          <p:cNvGrpSpPr/>
          <p:nvPr/>
        </p:nvGrpSpPr>
        <p:grpSpPr>
          <a:xfrm>
            <a:off x="1120231" y="3547507"/>
            <a:ext cx="2168826" cy="2168820"/>
            <a:chOff x="6552153" y="1435360"/>
            <a:chExt cx="693385" cy="693386"/>
          </a:xfrm>
        </p:grpSpPr>
        <p:sp>
          <p:nvSpPr>
            <p:cNvPr id="31" name="Elipse 30"/>
            <p:cNvSpPr/>
            <p:nvPr/>
          </p:nvSpPr>
          <p:spPr>
            <a:xfrm>
              <a:off x="6552153" y="1435360"/>
              <a:ext cx="693385" cy="69338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254000" dist="38100" dir="2700000" sx="105000" sy="105000" algn="tl" rotWithShape="0">
                <a:schemeClr val="tx1">
                  <a:lumMod val="75000"/>
                  <a:lumOff val="25000"/>
                  <a:alpha val="4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32" name="Imagen 31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85796" y="1542081"/>
              <a:ext cx="445521" cy="479485"/>
            </a:xfrm>
            <a:prstGeom prst="rect">
              <a:avLst/>
            </a:prstGeom>
          </p:spPr>
        </p:pic>
      </p:grpSp>
      <p:sp>
        <p:nvSpPr>
          <p:cNvPr id="26" name="Elipse 25"/>
          <p:cNvSpPr>
            <a:spLocks noChangeAspect="1"/>
          </p:cNvSpPr>
          <p:nvPr/>
        </p:nvSpPr>
        <p:spPr>
          <a:xfrm>
            <a:off x="1167366" y="3405681"/>
            <a:ext cx="302505" cy="30250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Elipse 26"/>
          <p:cNvSpPr>
            <a:spLocks noChangeAspect="1"/>
          </p:cNvSpPr>
          <p:nvPr/>
        </p:nvSpPr>
        <p:spPr>
          <a:xfrm>
            <a:off x="976898" y="3843389"/>
            <a:ext cx="206615" cy="206615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Elipse 27"/>
          <p:cNvSpPr>
            <a:spLocks noChangeAspect="1"/>
          </p:cNvSpPr>
          <p:nvPr/>
        </p:nvSpPr>
        <p:spPr>
          <a:xfrm>
            <a:off x="2843503" y="5591590"/>
            <a:ext cx="250004" cy="250004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Elipse 28"/>
          <p:cNvSpPr>
            <a:spLocks noChangeAspect="1"/>
          </p:cNvSpPr>
          <p:nvPr/>
        </p:nvSpPr>
        <p:spPr>
          <a:xfrm>
            <a:off x="2531274" y="5832996"/>
            <a:ext cx="128291" cy="128291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Elipse 29"/>
          <p:cNvSpPr>
            <a:spLocks noChangeAspect="1"/>
          </p:cNvSpPr>
          <p:nvPr/>
        </p:nvSpPr>
        <p:spPr>
          <a:xfrm>
            <a:off x="3278733" y="5297481"/>
            <a:ext cx="128291" cy="128291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3873525" y="1500822"/>
            <a:ext cx="7410724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400" b="1" dirty="0">
                <a:solidFill>
                  <a:prstClr val="white"/>
                </a:solidFill>
                <a:latin typeface="Calibri" panose="020F0502020204030204"/>
              </a:rPr>
              <a:t>Yes</a:t>
            </a: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s-IS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</a:t>
            </a:r>
            <a:r>
              <a:rPr kumimoji="0" lang="en-US" sz="4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turnables</a:t>
            </a: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hould be a </a:t>
            </a: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y Business Growth Pillar </a:t>
            </a: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or our System</a:t>
            </a:r>
            <a:r>
              <a:rPr kumimoji="0" lang="is-IS" sz="4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</a:t>
            </a:r>
            <a:endParaRPr kumimoji="0" lang="en-US" sz="4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1" i="1" u="none" strike="noStrike" kern="1200" cap="none" spc="0" normalizeH="0" baseline="0" noProof="0" dirty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s-IS" sz="4000" b="1" i="1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so, </a:t>
            </a:r>
            <a:r>
              <a:rPr kumimoji="0" lang="en-US" sz="4000" b="1" i="1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at should we do about it?</a:t>
            </a:r>
          </a:p>
        </p:txBody>
      </p:sp>
      <p:sp>
        <p:nvSpPr>
          <p:cNvPr id="34" name="Elipse 33"/>
          <p:cNvSpPr>
            <a:spLocks noChangeAspect="1"/>
          </p:cNvSpPr>
          <p:nvPr/>
        </p:nvSpPr>
        <p:spPr>
          <a:xfrm>
            <a:off x="1671816" y="3370027"/>
            <a:ext cx="128291" cy="128291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254000" dist="38100" dir="2700000" sx="105000" sy="105000" algn="tl" rotWithShape="0">
              <a:schemeClr val="tx1">
                <a:lumMod val="75000"/>
                <a:lumOff val="25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9" name="Conector recto de flecha 8"/>
          <p:cNvCxnSpPr>
            <a:stCxn id="31" idx="6"/>
          </p:cNvCxnSpPr>
          <p:nvPr/>
        </p:nvCxnSpPr>
        <p:spPr>
          <a:xfrm flipV="1">
            <a:off x="3289057" y="4631199"/>
            <a:ext cx="7928840" cy="718"/>
          </a:xfrm>
          <a:prstGeom prst="straightConnector1">
            <a:avLst/>
          </a:prstGeom>
          <a:ln w="25400">
            <a:solidFill>
              <a:schemeClr val="bg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31155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4ZYh04W_oG8OxoH84ZF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642</TotalTime>
  <Words>1049</Words>
  <Application>Microsoft Office PowerPoint</Application>
  <PresentationFormat>Widescreen</PresentationFormat>
  <Paragraphs>244</Paragraphs>
  <Slides>22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9" baseType="lpstr">
      <vt:lpstr>Arial</vt:lpstr>
      <vt:lpstr>Calibri</vt:lpstr>
      <vt:lpstr>Calibri Light</vt:lpstr>
      <vt:lpstr>Georgia</vt:lpstr>
      <vt:lpstr>Gotham</vt:lpstr>
      <vt:lpstr>Roboto</vt:lpstr>
      <vt:lpstr>Symbol</vt:lpstr>
      <vt:lpstr>TCCC-UnityHeadline</vt:lpstr>
      <vt:lpstr>TCCC-UnityText</vt:lpstr>
      <vt:lpstr>TCCC-UnityTextPC</vt:lpstr>
      <vt:lpstr>Wingdings</vt:lpstr>
      <vt:lpstr>Office Theme</vt:lpstr>
      <vt:lpstr>Tema de Office</vt:lpstr>
      <vt:lpstr>1_Tema de Office</vt:lpstr>
      <vt:lpstr>2_Tema de Office</vt:lpstr>
      <vt:lpstr>1_Office Theme</vt:lpstr>
      <vt:lpstr>think-cell Slide</vt:lpstr>
      <vt:lpstr>Returnables/ Refillables are a powerful tool to drive Category Leadership</vt:lpstr>
      <vt:lpstr>The business imperative</vt:lpstr>
      <vt:lpstr>PowerPoint Presentation</vt:lpstr>
      <vt:lpstr>PowerPoint Presentation</vt:lpstr>
      <vt:lpstr>This holds true across markets as well as consumers in most markets clearly prefer the experience of glass over plastic (the second most preferred package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hn Martinez</dc:creator>
  <cp:lastModifiedBy>John Martinez</cp:lastModifiedBy>
  <cp:revision>774</cp:revision>
  <dcterms:created xsi:type="dcterms:W3CDTF">2021-10-19T16:49:31Z</dcterms:created>
  <dcterms:modified xsi:type="dcterms:W3CDTF">2022-12-09T13:59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702bf62-88e6-456d-b298-e2abb13de1ea_Enabled">
    <vt:lpwstr>true</vt:lpwstr>
  </property>
  <property fmtid="{D5CDD505-2E9C-101B-9397-08002B2CF9AE}" pid="3" name="MSIP_Label_0702bf62-88e6-456d-b298-e2abb13de1ea_SetDate">
    <vt:lpwstr>2021-12-02T12:56:58Z</vt:lpwstr>
  </property>
  <property fmtid="{D5CDD505-2E9C-101B-9397-08002B2CF9AE}" pid="4" name="MSIP_Label_0702bf62-88e6-456d-b298-e2abb13de1ea_Method">
    <vt:lpwstr>Standard</vt:lpwstr>
  </property>
  <property fmtid="{D5CDD505-2E9C-101B-9397-08002B2CF9AE}" pid="5" name="MSIP_Label_0702bf62-88e6-456d-b298-e2abb13de1ea_Name">
    <vt:lpwstr>0702bf62-88e6-456d-b298-e2abb13de1ea</vt:lpwstr>
  </property>
  <property fmtid="{D5CDD505-2E9C-101B-9397-08002B2CF9AE}" pid="6" name="MSIP_Label_0702bf62-88e6-456d-b298-e2abb13de1ea_SiteId">
    <vt:lpwstr>548d26ab-8caa-49e1-97c2-a1b1a06cc39c</vt:lpwstr>
  </property>
  <property fmtid="{D5CDD505-2E9C-101B-9397-08002B2CF9AE}" pid="7" name="MSIP_Label_0702bf62-88e6-456d-b298-e2abb13de1ea_ActionId">
    <vt:lpwstr>3c1d2456-9171-4358-8d2d-4daf128bce0b</vt:lpwstr>
  </property>
  <property fmtid="{D5CDD505-2E9C-101B-9397-08002B2CF9AE}" pid="8" name="MSIP_Label_0702bf62-88e6-456d-b298-e2abb13de1ea_ContentBits">
    <vt:lpwstr>2</vt:lpwstr>
  </property>
</Properties>
</file>